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tags/tag46.xml" ContentType="application/vnd.openxmlformats-officedocument.presentationml.tags+xml"/>
  <Override PartName="/ppt/notesSlides/notesSlide3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4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4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4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49.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5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5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16" r:id="rId3"/>
    <p:sldMasterId id="2147483782" r:id="rId4"/>
    <p:sldMasterId id="2147483717" r:id="rId5"/>
  </p:sldMasterIdLst>
  <p:notesMasterIdLst>
    <p:notesMasterId r:id="rId92"/>
  </p:notesMasterIdLst>
  <p:sldIdLst>
    <p:sldId id="256" r:id="rId6"/>
    <p:sldId id="264" r:id="rId7"/>
    <p:sldId id="259" r:id="rId8"/>
    <p:sldId id="333" r:id="rId9"/>
    <p:sldId id="334" r:id="rId10"/>
    <p:sldId id="260" r:id="rId11"/>
    <p:sldId id="261" r:id="rId12"/>
    <p:sldId id="265" r:id="rId13"/>
    <p:sldId id="280" r:id="rId14"/>
    <p:sldId id="281" r:id="rId15"/>
    <p:sldId id="282" r:id="rId16"/>
    <p:sldId id="283" r:id="rId17"/>
    <p:sldId id="285" r:id="rId18"/>
    <p:sldId id="286" r:id="rId19"/>
    <p:sldId id="262" r:id="rId20"/>
    <p:sldId id="289" r:id="rId21"/>
    <p:sldId id="305" r:id="rId22"/>
    <p:sldId id="306" r:id="rId23"/>
    <p:sldId id="307" r:id="rId24"/>
    <p:sldId id="299" r:id="rId25"/>
    <p:sldId id="300" r:id="rId26"/>
    <p:sldId id="290" r:id="rId27"/>
    <p:sldId id="301" r:id="rId28"/>
    <p:sldId id="302" r:id="rId29"/>
    <p:sldId id="303" r:id="rId30"/>
    <p:sldId id="308" r:id="rId31"/>
    <p:sldId id="295" r:id="rId32"/>
    <p:sldId id="296" r:id="rId33"/>
    <p:sldId id="297" r:id="rId34"/>
    <p:sldId id="298" r:id="rId35"/>
    <p:sldId id="291" r:id="rId36"/>
    <p:sldId id="292" r:id="rId37"/>
    <p:sldId id="293" r:id="rId38"/>
    <p:sldId id="294" r:id="rId39"/>
    <p:sldId id="330" r:id="rId40"/>
    <p:sldId id="332" r:id="rId41"/>
    <p:sldId id="335" r:id="rId42"/>
    <p:sldId id="329" r:id="rId43"/>
    <p:sldId id="309" r:id="rId44"/>
    <p:sldId id="311" r:id="rId45"/>
    <p:sldId id="310" r:id="rId46"/>
    <p:sldId id="312" r:id="rId47"/>
    <p:sldId id="288" r:id="rId48"/>
    <p:sldId id="315" r:id="rId49"/>
    <p:sldId id="336" r:id="rId50"/>
    <p:sldId id="318" r:id="rId51"/>
    <p:sldId id="316" r:id="rId52"/>
    <p:sldId id="337" r:id="rId53"/>
    <p:sldId id="317" r:id="rId54"/>
    <p:sldId id="319" r:id="rId55"/>
    <p:sldId id="322" r:id="rId56"/>
    <p:sldId id="338" r:id="rId57"/>
    <p:sldId id="339" r:id="rId58"/>
    <p:sldId id="323" r:id="rId59"/>
    <p:sldId id="340" r:id="rId60"/>
    <p:sldId id="341" r:id="rId61"/>
    <p:sldId id="324" r:id="rId62"/>
    <p:sldId id="325" r:id="rId63"/>
    <p:sldId id="355" r:id="rId64"/>
    <p:sldId id="326" r:id="rId65"/>
    <p:sldId id="327" r:id="rId66"/>
    <p:sldId id="328" r:id="rId67"/>
    <p:sldId id="351" r:id="rId68"/>
    <p:sldId id="343" r:id="rId69"/>
    <p:sldId id="346" r:id="rId70"/>
    <p:sldId id="348" r:id="rId71"/>
    <p:sldId id="347" r:id="rId72"/>
    <p:sldId id="349" r:id="rId73"/>
    <p:sldId id="350" r:id="rId74"/>
    <p:sldId id="266" r:id="rId75"/>
    <p:sldId id="268" r:id="rId76"/>
    <p:sldId id="269" r:id="rId77"/>
    <p:sldId id="352" r:id="rId78"/>
    <p:sldId id="353" r:id="rId79"/>
    <p:sldId id="270" r:id="rId80"/>
    <p:sldId id="271" r:id="rId81"/>
    <p:sldId id="272" r:id="rId82"/>
    <p:sldId id="274" r:id="rId83"/>
    <p:sldId id="275" r:id="rId84"/>
    <p:sldId id="276" r:id="rId85"/>
    <p:sldId id="277" r:id="rId86"/>
    <p:sldId id="278" r:id="rId87"/>
    <p:sldId id="313" r:id="rId88"/>
    <p:sldId id="345" r:id="rId89"/>
    <p:sldId id="354" r:id="rId90"/>
    <p:sldId id="344" r:id="rId91"/>
  </p:sldIdLst>
  <p:sldSz cx="12192000" cy="6858000"/>
  <p:notesSz cx="6858000" cy="9144000"/>
  <p:defaultTextStyle>
    <a:defPPr>
      <a:defRPr lang="vi-V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8908834-D8D0-457C-9631-38A171AED7AA}">
          <p14:sldIdLst>
            <p14:sldId id="256"/>
          </p14:sldIdLst>
        </p14:section>
        <p14:section name="Introduction" id="{89E224D8-F35B-41D6-A820-B9A9CBF58D58}">
          <p14:sldIdLst>
            <p14:sldId id="264"/>
            <p14:sldId id="259"/>
            <p14:sldId id="333"/>
            <p14:sldId id="334"/>
            <p14:sldId id="260"/>
            <p14:sldId id="261"/>
          </p14:sldIdLst>
        </p14:section>
        <p14:section name="OOP recap" id="{0FD03CB4-4418-44F9-A826-158D819763C1}">
          <p14:sldIdLst>
            <p14:sldId id="265"/>
            <p14:sldId id="280"/>
            <p14:sldId id="281"/>
            <p14:sldId id="282"/>
          </p14:sldIdLst>
        </p14:section>
        <p14:section name="MVC pattern" id="{6F18B823-B8DC-4186-B6FD-48A214E2B1CE}">
          <p14:sldIdLst>
            <p14:sldId id="283"/>
            <p14:sldId id="285"/>
            <p14:sldId id="286"/>
            <p14:sldId id="262"/>
            <p14:sldId id="289"/>
            <p14:sldId id="305"/>
            <p14:sldId id="306"/>
            <p14:sldId id="307"/>
            <p14:sldId id="299"/>
            <p14:sldId id="300"/>
            <p14:sldId id="290"/>
            <p14:sldId id="301"/>
            <p14:sldId id="302"/>
            <p14:sldId id="303"/>
            <p14:sldId id="308"/>
            <p14:sldId id="295"/>
            <p14:sldId id="296"/>
            <p14:sldId id="297"/>
            <p14:sldId id="298"/>
            <p14:sldId id="291"/>
            <p14:sldId id="292"/>
            <p14:sldId id="293"/>
            <p14:sldId id="294"/>
            <p14:sldId id="330"/>
            <p14:sldId id="332"/>
            <p14:sldId id="335"/>
            <p14:sldId id="329"/>
            <p14:sldId id="309"/>
            <p14:sldId id="311"/>
            <p14:sldId id="310"/>
            <p14:sldId id="312"/>
            <p14:sldId id="288"/>
            <p14:sldId id="315"/>
            <p14:sldId id="336"/>
            <p14:sldId id="318"/>
            <p14:sldId id="316"/>
            <p14:sldId id="337"/>
            <p14:sldId id="317"/>
            <p14:sldId id="319"/>
            <p14:sldId id="322"/>
            <p14:sldId id="338"/>
            <p14:sldId id="339"/>
            <p14:sldId id="323"/>
            <p14:sldId id="340"/>
            <p14:sldId id="341"/>
            <p14:sldId id="324"/>
            <p14:sldId id="325"/>
            <p14:sldId id="355"/>
            <p14:sldId id="326"/>
            <p14:sldId id="327"/>
            <p14:sldId id="328"/>
            <p14:sldId id="351"/>
            <p14:sldId id="343"/>
            <p14:sldId id="346"/>
            <p14:sldId id="348"/>
            <p14:sldId id="347"/>
            <p14:sldId id="349"/>
            <p14:sldId id="350"/>
          </p14:sldIdLst>
        </p14:section>
        <p14:section name="Detail Pattern" id="{486AD5C8-121A-4943-9DE0-17431E22620D}">
          <p14:sldIdLst>
            <p14:sldId id="266"/>
            <p14:sldId id="268"/>
            <p14:sldId id="269"/>
            <p14:sldId id="352"/>
            <p14:sldId id="353"/>
            <p14:sldId id="270"/>
            <p14:sldId id="271"/>
            <p14:sldId id="272"/>
            <p14:sldId id="274"/>
            <p14:sldId id="275"/>
            <p14:sldId id="276"/>
            <p14:sldId id="277"/>
            <p14:sldId id="278"/>
          </p14:sldIdLst>
        </p14:section>
        <p14:section name="Ending" id="{91F0A9A0-DB0C-49C9-AEF8-00349933C4A6}">
          <p14:sldIdLst>
            <p14:sldId id="313"/>
            <p14:sldId id="345"/>
            <p14:sldId id="354"/>
            <p14:sldId id="34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F2047"/>
    <a:srgbClr val="E360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D027A1-6780-4951-8262-EB38F7DED744}" v="272" dt="2023-06-25T08:57:54.300"/>
    <p1510:client id="{41025DA7-181F-491C-9FBD-FBB8E4B572F0}" v="715" dt="2023-06-26T04:08:57.810"/>
    <p1510:client id="{8B319F24-4202-40F4-B6FB-82E561055798}" v="105" dt="2023-06-25T11:12:26.715"/>
    <p1510:client id="{AFB1083D-4846-44F1-9A93-EAEE47169892}" v="5" dt="2023-06-25T17:15:21.966"/>
    <p1510:client id="{BD816716-BBD7-4A5A-B975-81CAD47AEC17}" v="14" dt="2023-06-25T17:20:35.5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slide" Target="slides/slide84.xml"/><Relationship Id="rId97" Type="http://schemas.microsoft.com/office/2016/11/relationships/changesInfo" Target="changesInfos/changesInfo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presProps" Target="presProps.xml"/><Relationship Id="rId98"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o Nguyễn Hoàng Hiệp" userId="S::cnhh@netcompany.com::29e31dbb-69b0-4c0d-9b1b-e95034dacd00" providerId="AD" clId="Web-{8B319F24-4202-40F4-B6FB-82E561055798}"/>
    <pc:docChg chg="addSld modSld">
      <pc:chgData name="Cao Nguyễn Hoàng Hiệp" userId="S::cnhh@netcompany.com::29e31dbb-69b0-4c0d-9b1b-e95034dacd00" providerId="AD" clId="Web-{8B319F24-4202-40F4-B6FB-82E561055798}" dt="2023-06-25T11:12:26.715" v="103" actId="1076"/>
      <pc:docMkLst>
        <pc:docMk/>
      </pc:docMkLst>
      <pc:sldChg chg="addSp delSp modSp add replId">
        <pc:chgData name="Cao Nguyễn Hoàng Hiệp" userId="S::cnhh@netcompany.com::29e31dbb-69b0-4c0d-9b1b-e95034dacd00" providerId="AD" clId="Web-{8B319F24-4202-40F4-B6FB-82E561055798}" dt="2023-06-25T11:12:26.715" v="103" actId="1076"/>
        <pc:sldMkLst>
          <pc:docMk/>
          <pc:sldMk cId="3924228562" sldId="334"/>
        </pc:sldMkLst>
        <pc:spChg chg="mod">
          <ac:chgData name="Cao Nguyễn Hoàng Hiệp" userId="S::cnhh@netcompany.com::29e31dbb-69b0-4c0d-9b1b-e95034dacd00" providerId="AD" clId="Web-{8B319F24-4202-40F4-B6FB-82E561055798}" dt="2023-06-25T11:10:55.619" v="97" actId="20577"/>
          <ac:spMkLst>
            <pc:docMk/>
            <pc:sldMk cId="3924228562" sldId="334"/>
            <ac:spMk id="3" creationId="{483EB76D-DCD7-8849-23CF-9EC6A15958B8}"/>
          </ac:spMkLst>
        </pc:spChg>
        <pc:picChg chg="add del mod">
          <ac:chgData name="Cao Nguyễn Hoàng Hiệp" userId="S::cnhh@netcompany.com::29e31dbb-69b0-4c0d-9b1b-e95034dacd00" providerId="AD" clId="Web-{8B319F24-4202-40F4-B6FB-82E561055798}" dt="2023-06-25T11:08:41.756" v="51"/>
          <ac:picMkLst>
            <pc:docMk/>
            <pc:sldMk cId="3924228562" sldId="334"/>
            <ac:picMk id="4" creationId="{37D6022A-9217-209C-90EA-871EADA9A19B}"/>
          </ac:picMkLst>
        </pc:picChg>
        <pc:picChg chg="del">
          <ac:chgData name="Cao Nguyễn Hoàng Hiệp" userId="S::cnhh@netcompany.com::29e31dbb-69b0-4c0d-9b1b-e95034dacd00" providerId="AD" clId="Web-{8B319F24-4202-40F4-B6FB-82E561055798}" dt="2023-06-25T11:08:14.849" v="46"/>
          <ac:picMkLst>
            <pc:docMk/>
            <pc:sldMk cId="3924228562" sldId="334"/>
            <ac:picMk id="5" creationId="{A6E364D8-0950-E17E-EB4D-A2D6A5567925}"/>
          </ac:picMkLst>
        </pc:picChg>
        <pc:picChg chg="add del mod">
          <ac:chgData name="Cao Nguyễn Hoàng Hiệp" userId="S::cnhh@netcompany.com::29e31dbb-69b0-4c0d-9b1b-e95034dacd00" providerId="AD" clId="Web-{8B319F24-4202-40F4-B6FB-82E561055798}" dt="2023-06-25T11:12:14.777" v="98"/>
          <ac:picMkLst>
            <pc:docMk/>
            <pc:sldMk cId="3924228562" sldId="334"/>
            <ac:picMk id="6" creationId="{AE81B1B0-793E-2D0E-050C-8937822B6243}"/>
          </ac:picMkLst>
        </pc:picChg>
        <pc:picChg chg="add mod">
          <ac:chgData name="Cao Nguyễn Hoàng Hiệp" userId="S::cnhh@netcompany.com::29e31dbb-69b0-4c0d-9b1b-e95034dacd00" providerId="AD" clId="Web-{8B319F24-4202-40F4-B6FB-82E561055798}" dt="2023-06-25T11:12:26.715" v="103" actId="1076"/>
          <ac:picMkLst>
            <pc:docMk/>
            <pc:sldMk cId="3924228562" sldId="334"/>
            <ac:picMk id="7" creationId="{9F5042C1-0272-BBF8-312D-15449DA035C9}"/>
          </ac:picMkLst>
        </pc:picChg>
      </pc:sldChg>
    </pc:docChg>
  </pc:docChgLst>
  <pc:docChgLst>
    <pc:chgData name="Cao Nguyễn Hoàng Hiệp" userId="S::cnhh@netcompany.com::29e31dbb-69b0-4c0d-9b1b-e95034dacd00" providerId="AD" clId="Web-{AFB1083D-4846-44F1-9A93-EAEE47169892}"/>
    <pc:docChg chg="modSld">
      <pc:chgData name="Cao Nguyễn Hoàng Hiệp" userId="S::cnhh@netcompany.com::29e31dbb-69b0-4c0d-9b1b-e95034dacd00" providerId="AD" clId="Web-{AFB1083D-4846-44F1-9A93-EAEE47169892}" dt="2023-06-25T17:15:21.966" v="4" actId="1076"/>
      <pc:docMkLst>
        <pc:docMk/>
      </pc:docMkLst>
      <pc:sldChg chg="addSp delSp modSp">
        <pc:chgData name="Cao Nguyễn Hoàng Hiệp" userId="S::cnhh@netcompany.com::29e31dbb-69b0-4c0d-9b1b-e95034dacd00" providerId="AD" clId="Web-{AFB1083D-4846-44F1-9A93-EAEE47169892}" dt="2023-06-25T17:15:21.966" v="4" actId="1076"/>
        <pc:sldMkLst>
          <pc:docMk/>
          <pc:sldMk cId="3924228562" sldId="334"/>
        </pc:sldMkLst>
        <pc:picChg chg="add mod">
          <ac:chgData name="Cao Nguyễn Hoàng Hiệp" userId="S::cnhh@netcompany.com::29e31dbb-69b0-4c0d-9b1b-e95034dacd00" providerId="AD" clId="Web-{AFB1083D-4846-44F1-9A93-EAEE47169892}" dt="2023-06-25T17:15:21.966" v="4" actId="1076"/>
          <ac:picMkLst>
            <pc:docMk/>
            <pc:sldMk cId="3924228562" sldId="334"/>
            <ac:picMk id="4" creationId="{73DFD854-DC1B-6489-E2CF-AE8ABCA586A9}"/>
          </ac:picMkLst>
        </pc:picChg>
        <pc:picChg chg="del">
          <ac:chgData name="Cao Nguyễn Hoàng Hiệp" userId="S::cnhh@netcompany.com::29e31dbb-69b0-4c0d-9b1b-e95034dacd00" providerId="AD" clId="Web-{AFB1083D-4846-44F1-9A93-EAEE47169892}" dt="2023-06-25T17:15:12.747" v="0"/>
          <ac:picMkLst>
            <pc:docMk/>
            <pc:sldMk cId="3924228562" sldId="334"/>
            <ac:picMk id="7" creationId="{9F5042C1-0272-BBF8-312D-15449DA035C9}"/>
          </ac:picMkLst>
        </pc:picChg>
      </pc:sldChg>
    </pc:docChg>
  </pc:docChgLst>
  <pc:docChgLst>
    <pc:chgData name="Cao Nguyễn Hoàng Hiệp" userId="S::cnhh@netcompany.com::29e31dbb-69b0-4c0d-9b1b-e95034dacd00" providerId="AD" clId="Web-{E56204C6-7003-4CF4-A1D4-FCEC89E23564}"/>
    <pc:docChg chg="modSld">
      <pc:chgData name="Cao Nguyễn Hoàng Hiệp" userId="S::cnhh@netcompany.com::29e31dbb-69b0-4c0d-9b1b-e95034dacd00" providerId="AD" clId="Web-{E56204C6-7003-4CF4-A1D4-FCEC89E23564}" dt="2023-06-23T06:19:02.707" v="7" actId="1076"/>
      <pc:docMkLst>
        <pc:docMk/>
      </pc:docMkLst>
      <pc:sldChg chg="modSp">
        <pc:chgData name="Cao Nguyễn Hoàng Hiệp" userId="S::cnhh@netcompany.com::29e31dbb-69b0-4c0d-9b1b-e95034dacd00" providerId="AD" clId="Web-{E56204C6-7003-4CF4-A1D4-FCEC89E23564}" dt="2023-06-23T06:19:02.707" v="7" actId="1076"/>
        <pc:sldMkLst>
          <pc:docMk/>
          <pc:sldMk cId="2964104141" sldId="256"/>
        </pc:sldMkLst>
        <pc:spChg chg="mod">
          <ac:chgData name="Cao Nguyễn Hoàng Hiệp" userId="S::cnhh@netcompany.com::29e31dbb-69b0-4c0d-9b1b-e95034dacd00" providerId="AD" clId="Web-{E56204C6-7003-4CF4-A1D4-FCEC89E23564}" dt="2023-06-23T06:19:02.707" v="7" actId="1076"/>
          <ac:spMkLst>
            <pc:docMk/>
            <pc:sldMk cId="2964104141" sldId="256"/>
            <ac:spMk id="8" creationId="{25F5B4B5-477D-4E94-9B40-3BAB12E915CD}"/>
          </ac:spMkLst>
        </pc:spChg>
      </pc:sldChg>
    </pc:docChg>
  </pc:docChgLst>
  <pc:docChgLst>
    <pc:chgData name="Dương Hiếu Nghĩa" userId="S::dhngh@netcompany.com::3430a1f3-70a8-49aa-8a47-297138445069" providerId="AD" clId="Web-{3ED027A1-6780-4951-8262-EB38F7DED744}"/>
    <pc:docChg chg="addSld modSld">
      <pc:chgData name="Dương Hiếu Nghĩa" userId="S::dhngh@netcompany.com::3430a1f3-70a8-49aa-8a47-297138445069" providerId="AD" clId="Web-{3ED027A1-6780-4951-8262-EB38F7DED744}" dt="2023-06-25T08:57:54.300" v="267" actId="20577"/>
      <pc:docMkLst>
        <pc:docMk/>
      </pc:docMkLst>
      <pc:sldChg chg="addSp delSp modSp new">
        <pc:chgData name="Dương Hiếu Nghĩa" userId="S::dhngh@netcompany.com::3430a1f3-70a8-49aa-8a47-297138445069" providerId="AD" clId="Web-{3ED027A1-6780-4951-8262-EB38F7DED744}" dt="2023-06-25T08:57:54.300" v="267" actId="20577"/>
        <pc:sldMkLst>
          <pc:docMk/>
          <pc:sldMk cId="1871160985" sldId="333"/>
        </pc:sldMkLst>
        <pc:spChg chg="mod">
          <ac:chgData name="Dương Hiếu Nghĩa" userId="S::dhngh@netcompany.com::3430a1f3-70a8-49aa-8a47-297138445069" providerId="AD" clId="Web-{3ED027A1-6780-4951-8262-EB38F7DED744}" dt="2023-06-25T08:49:25.815" v="1" actId="20577"/>
          <ac:spMkLst>
            <pc:docMk/>
            <pc:sldMk cId="1871160985" sldId="333"/>
            <ac:spMk id="2" creationId="{46B838BC-5549-CCE3-1FB1-1D0815D636B5}"/>
          </ac:spMkLst>
        </pc:spChg>
        <pc:spChg chg="mod">
          <ac:chgData name="Dương Hiếu Nghĩa" userId="S::dhngh@netcompany.com::3430a1f3-70a8-49aa-8a47-297138445069" providerId="AD" clId="Web-{3ED027A1-6780-4951-8262-EB38F7DED744}" dt="2023-06-25T08:57:54.300" v="267" actId="20577"/>
          <ac:spMkLst>
            <pc:docMk/>
            <pc:sldMk cId="1871160985" sldId="333"/>
            <ac:spMk id="3" creationId="{483EB76D-DCD7-8849-23CF-9EC6A15958B8}"/>
          </ac:spMkLst>
        </pc:spChg>
        <pc:spChg chg="del">
          <ac:chgData name="Dương Hiếu Nghĩa" userId="S::dhngh@netcompany.com::3430a1f3-70a8-49aa-8a47-297138445069" providerId="AD" clId="Web-{3ED027A1-6780-4951-8262-EB38F7DED744}" dt="2023-06-25T08:52:45.665" v="53"/>
          <ac:spMkLst>
            <pc:docMk/>
            <pc:sldMk cId="1871160985" sldId="333"/>
            <ac:spMk id="4" creationId="{888F4407-544C-7D92-B1F1-4EA74DC92845}"/>
          </ac:spMkLst>
        </pc:spChg>
        <pc:picChg chg="add mod">
          <ac:chgData name="Dương Hiếu Nghĩa" userId="S::dhngh@netcompany.com::3430a1f3-70a8-49aa-8a47-297138445069" providerId="AD" clId="Web-{3ED027A1-6780-4951-8262-EB38F7DED744}" dt="2023-06-25T08:52:56.462" v="56" actId="1076"/>
          <ac:picMkLst>
            <pc:docMk/>
            <pc:sldMk cId="1871160985" sldId="333"/>
            <ac:picMk id="5" creationId="{A6E364D8-0950-E17E-EB4D-A2D6A5567925}"/>
          </ac:picMkLst>
        </pc:picChg>
      </pc:sldChg>
    </pc:docChg>
  </pc:docChgLst>
  <pc:docChgLst>
    <pc:chgData name="Cao Nguyễn Hoàng Hiệp" userId="29e31dbb-69b0-4c0d-9b1b-e95034dacd00" providerId="ADAL" clId="{8FB11CD8-E499-49B6-A88A-BEBA12A12DB6}"/>
    <pc:docChg chg="undo custSel addSld delSld modSld sldOrd delMainMaster">
      <pc:chgData name="Cao Nguyễn Hoàng Hiệp" userId="29e31dbb-69b0-4c0d-9b1b-e95034dacd00" providerId="ADAL" clId="{8FB11CD8-E499-49B6-A88A-BEBA12A12DB6}" dt="2023-06-23T06:24:17.510" v="1549" actId="47"/>
      <pc:docMkLst>
        <pc:docMk/>
      </pc:docMkLst>
      <pc:sldChg chg="addSp delSp modSp mod">
        <pc:chgData name="Cao Nguyễn Hoàng Hiệp" userId="29e31dbb-69b0-4c0d-9b1b-e95034dacd00" providerId="ADAL" clId="{8FB11CD8-E499-49B6-A88A-BEBA12A12DB6}" dt="2023-06-23T06:21:39.169" v="1514" actId="478"/>
        <pc:sldMkLst>
          <pc:docMk/>
          <pc:sldMk cId="2964104141" sldId="256"/>
        </pc:sldMkLst>
        <pc:spChg chg="add del mod">
          <ac:chgData name="Cao Nguyễn Hoàng Hiệp" userId="29e31dbb-69b0-4c0d-9b1b-e95034dacd00" providerId="ADAL" clId="{8FB11CD8-E499-49B6-A88A-BEBA12A12DB6}" dt="2023-06-23T06:21:11.327" v="1510" actId="478"/>
          <ac:spMkLst>
            <pc:docMk/>
            <pc:sldMk cId="2964104141" sldId="256"/>
            <ac:spMk id="2" creationId="{0C17B829-543F-04DB-7407-468034C152BD}"/>
          </ac:spMkLst>
        </pc:spChg>
        <pc:spChg chg="add del mod">
          <ac:chgData name="Cao Nguyễn Hoàng Hiệp" userId="29e31dbb-69b0-4c0d-9b1b-e95034dacd00" providerId="ADAL" clId="{8FB11CD8-E499-49B6-A88A-BEBA12A12DB6}" dt="2023-06-23T06:21:39.169" v="1514" actId="478"/>
          <ac:spMkLst>
            <pc:docMk/>
            <pc:sldMk cId="2964104141" sldId="256"/>
            <ac:spMk id="4" creationId="{AE01030F-E130-22CE-E66F-EC74671CB12E}"/>
          </ac:spMkLst>
        </pc:spChg>
      </pc:sldChg>
      <pc:sldChg chg="modSp add mod modNotesTx">
        <pc:chgData name="Cao Nguyễn Hoàng Hiệp" userId="29e31dbb-69b0-4c0d-9b1b-e95034dacd00" providerId="ADAL" clId="{8FB11CD8-E499-49B6-A88A-BEBA12A12DB6}" dt="2023-06-22T03:48:49.090" v="29" actId="20577"/>
        <pc:sldMkLst>
          <pc:docMk/>
          <pc:sldMk cId="3887801419" sldId="266"/>
        </pc:sldMkLst>
        <pc:spChg chg="mod">
          <ac:chgData name="Cao Nguyễn Hoàng Hiệp" userId="29e31dbb-69b0-4c0d-9b1b-e95034dacd00" providerId="ADAL" clId="{8FB11CD8-E499-49B6-A88A-BEBA12A12DB6}" dt="2023-06-20T09:14:37.873" v="2" actId="207"/>
          <ac:spMkLst>
            <pc:docMk/>
            <pc:sldMk cId="3887801419" sldId="266"/>
            <ac:spMk id="55" creationId="{6F4F90CC-D6D0-478E-A1B4-7C73E42248DB}"/>
          </ac:spMkLst>
        </pc:spChg>
        <pc:spChg chg="mod">
          <ac:chgData name="Cao Nguyễn Hoàng Hiệp" userId="29e31dbb-69b0-4c0d-9b1b-e95034dacd00" providerId="ADAL" clId="{8FB11CD8-E499-49B6-A88A-BEBA12A12DB6}" dt="2023-06-20T09:14:29.879" v="1" actId="207"/>
          <ac:spMkLst>
            <pc:docMk/>
            <pc:sldMk cId="3887801419" sldId="266"/>
            <ac:spMk id="57" creationId="{A4320068-0C27-C478-1818-659D6E54ABB3}"/>
          </ac:spMkLst>
        </pc:spChg>
        <pc:spChg chg="mod">
          <ac:chgData name="Cao Nguyễn Hoàng Hiệp" userId="29e31dbb-69b0-4c0d-9b1b-e95034dacd00" providerId="ADAL" clId="{8FB11CD8-E499-49B6-A88A-BEBA12A12DB6}" dt="2023-06-20T09:14:56.404" v="6" actId="20577"/>
          <ac:spMkLst>
            <pc:docMk/>
            <pc:sldMk cId="3887801419" sldId="266"/>
            <ac:spMk id="69" creationId="{FE52C954-768F-3FCA-7622-C82F5057646A}"/>
          </ac:spMkLst>
        </pc:spChg>
        <pc:spChg chg="mod">
          <ac:chgData name="Cao Nguyễn Hoàng Hiệp" userId="29e31dbb-69b0-4c0d-9b1b-e95034dacd00" providerId="ADAL" clId="{8FB11CD8-E499-49B6-A88A-BEBA12A12DB6}" dt="2023-06-20T09:14:47.303" v="3" actId="207"/>
          <ac:spMkLst>
            <pc:docMk/>
            <pc:sldMk cId="3887801419" sldId="266"/>
            <ac:spMk id="71" creationId="{6EB4E7E0-3C85-1975-BB96-8679FE863E33}"/>
          </ac:spMkLst>
        </pc:spChg>
      </pc:sldChg>
      <pc:sldChg chg="addSp delSp modSp add mod ord">
        <pc:chgData name="Cao Nguyễn Hoàng Hiệp" userId="29e31dbb-69b0-4c0d-9b1b-e95034dacd00" providerId="ADAL" clId="{8FB11CD8-E499-49B6-A88A-BEBA12A12DB6}" dt="2023-06-20T09:17:47.307" v="24" actId="20577"/>
        <pc:sldMkLst>
          <pc:docMk/>
          <pc:sldMk cId="496033334" sldId="267"/>
        </pc:sldMkLst>
        <pc:spChg chg="mod">
          <ac:chgData name="Cao Nguyễn Hoàng Hiệp" userId="29e31dbb-69b0-4c0d-9b1b-e95034dacd00" providerId="ADAL" clId="{8FB11CD8-E499-49B6-A88A-BEBA12A12DB6}" dt="2023-06-20T09:16:48.824" v="22"/>
          <ac:spMkLst>
            <pc:docMk/>
            <pc:sldMk cId="496033334" sldId="267"/>
            <ac:spMk id="2" creationId="{4F4E61E0-F34E-4203-90A7-F5F0FE00AD5A}"/>
          </ac:spMkLst>
        </pc:spChg>
        <pc:spChg chg="mod">
          <ac:chgData name="Cao Nguyễn Hoàng Hiệp" userId="29e31dbb-69b0-4c0d-9b1b-e95034dacd00" providerId="ADAL" clId="{8FB11CD8-E499-49B6-A88A-BEBA12A12DB6}" dt="2023-06-20T09:17:47.307" v="24" actId="20577"/>
          <ac:spMkLst>
            <pc:docMk/>
            <pc:sldMk cId="496033334" sldId="267"/>
            <ac:spMk id="3" creationId="{86928F88-9869-406A-A386-D84EB71A8317}"/>
          </ac:spMkLst>
        </pc:spChg>
        <pc:spChg chg="add mod">
          <ac:chgData name="Cao Nguyễn Hoàng Hiệp" userId="29e31dbb-69b0-4c0d-9b1b-e95034dacd00" providerId="ADAL" clId="{8FB11CD8-E499-49B6-A88A-BEBA12A12DB6}" dt="2023-06-20T09:16:51.563" v="23" actId="478"/>
          <ac:spMkLst>
            <pc:docMk/>
            <pc:sldMk cId="496033334" sldId="267"/>
            <ac:spMk id="6" creationId="{7069AA54-36C4-8C2C-1F53-A64D1CBE0435}"/>
          </ac:spMkLst>
        </pc:spChg>
        <pc:picChg chg="del">
          <ac:chgData name="Cao Nguyễn Hoàng Hiệp" userId="29e31dbb-69b0-4c0d-9b1b-e95034dacd00" providerId="ADAL" clId="{8FB11CD8-E499-49B6-A88A-BEBA12A12DB6}" dt="2023-06-20T09:16:51.563" v="23" actId="478"/>
          <ac:picMkLst>
            <pc:docMk/>
            <pc:sldMk cId="496033334" sldId="267"/>
            <ac:picMk id="5" creationId="{833FE526-7F3F-4E0E-A644-206C917FB0B7}"/>
          </ac:picMkLst>
        </pc:picChg>
      </pc:sldChg>
      <pc:sldChg chg="addSp delSp modSp new del mod modClrScheme chgLayout">
        <pc:chgData name="Cao Nguyễn Hoàng Hiệp" userId="29e31dbb-69b0-4c0d-9b1b-e95034dacd00" providerId="ADAL" clId="{8FB11CD8-E499-49B6-A88A-BEBA12A12DB6}" dt="2023-06-20T09:16:23.491" v="15" actId="47"/>
        <pc:sldMkLst>
          <pc:docMk/>
          <pc:sldMk cId="1078001542" sldId="267"/>
        </pc:sldMkLst>
        <pc:spChg chg="del mod ord">
          <ac:chgData name="Cao Nguyễn Hoàng Hiệp" userId="29e31dbb-69b0-4c0d-9b1b-e95034dacd00" providerId="ADAL" clId="{8FB11CD8-E499-49B6-A88A-BEBA12A12DB6}" dt="2023-06-20T09:15:56.338" v="8" actId="700"/>
          <ac:spMkLst>
            <pc:docMk/>
            <pc:sldMk cId="1078001542" sldId="267"/>
            <ac:spMk id="2" creationId="{6B6673A1-2C84-7C1C-12EC-AC169B3796B2}"/>
          </ac:spMkLst>
        </pc:spChg>
        <pc:spChg chg="add mod ord">
          <ac:chgData name="Cao Nguyễn Hoàng Hiệp" userId="29e31dbb-69b0-4c0d-9b1b-e95034dacd00" providerId="ADAL" clId="{8FB11CD8-E499-49B6-A88A-BEBA12A12DB6}" dt="2023-06-20T09:16:16.560" v="13" actId="207"/>
          <ac:spMkLst>
            <pc:docMk/>
            <pc:sldMk cId="1078001542" sldId="267"/>
            <ac:spMk id="3" creationId="{2E1CBB03-12E0-EB5C-2B0D-EDD6F3A27FBA}"/>
          </ac:spMkLst>
        </pc:spChg>
        <pc:spChg chg="add mod ord">
          <ac:chgData name="Cao Nguyễn Hoàng Hiệp" userId="29e31dbb-69b0-4c0d-9b1b-e95034dacd00" providerId="ADAL" clId="{8FB11CD8-E499-49B6-A88A-BEBA12A12DB6}" dt="2023-06-20T09:15:56.338" v="8" actId="700"/>
          <ac:spMkLst>
            <pc:docMk/>
            <pc:sldMk cId="1078001542" sldId="267"/>
            <ac:spMk id="4" creationId="{B0399C3F-7D84-D43E-7429-073452B9F711}"/>
          </ac:spMkLst>
        </pc:spChg>
      </pc:sldChg>
      <pc:sldChg chg="add del">
        <pc:chgData name="Cao Nguyễn Hoàng Hiệp" userId="29e31dbb-69b0-4c0d-9b1b-e95034dacd00" providerId="ADAL" clId="{8FB11CD8-E499-49B6-A88A-BEBA12A12DB6}" dt="2023-06-20T09:16:30.169" v="18" actId="47"/>
        <pc:sldMkLst>
          <pc:docMk/>
          <pc:sldMk cId="2158772553" sldId="268"/>
        </pc:sldMkLst>
      </pc:sldChg>
      <pc:sldChg chg="delSp modSp add mod ord modNotesTx">
        <pc:chgData name="Cao Nguyễn Hoàng Hiệp" userId="29e31dbb-69b0-4c0d-9b1b-e95034dacd00" providerId="ADAL" clId="{8FB11CD8-E499-49B6-A88A-BEBA12A12DB6}" dt="2023-06-22T08:34:33.183" v="86"/>
        <pc:sldMkLst>
          <pc:docMk/>
          <pc:sldMk cId="3162301888" sldId="268"/>
        </pc:sldMkLst>
        <pc:spChg chg="del mod">
          <ac:chgData name="Cao Nguyễn Hoàng Hiệp" userId="29e31dbb-69b0-4c0d-9b1b-e95034dacd00" providerId="ADAL" clId="{8FB11CD8-E499-49B6-A88A-BEBA12A12DB6}" dt="2023-06-22T06:52:44.390" v="38" actId="478"/>
          <ac:spMkLst>
            <pc:docMk/>
            <pc:sldMk cId="3162301888" sldId="268"/>
            <ac:spMk id="2" creationId="{4BF62FB5-6D8D-4553-B9EB-4FD15EC32DC5}"/>
          </ac:spMkLst>
        </pc:spChg>
        <pc:spChg chg="mod">
          <ac:chgData name="Cao Nguyễn Hoàng Hiệp" userId="29e31dbb-69b0-4c0d-9b1b-e95034dacd00" providerId="ADAL" clId="{8FB11CD8-E499-49B6-A88A-BEBA12A12DB6}" dt="2023-06-22T06:52:27.880" v="31"/>
          <ac:spMkLst>
            <pc:docMk/>
            <pc:sldMk cId="3162301888" sldId="268"/>
            <ac:spMk id="5" creationId="{00000000-0000-0000-0000-000000000000}"/>
          </ac:spMkLst>
        </pc:spChg>
        <pc:spChg chg="del">
          <ac:chgData name="Cao Nguyễn Hoàng Hiệp" userId="29e31dbb-69b0-4c0d-9b1b-e95034dacd00" providerId="ADAL" clId="{8FB11CD8-E499-49B6-A88A-BEBA12A12DB6}" dt="2023-06-22T06:52:40.850" v="34" actId="478"/>
          <ac:spMkLst>
            <pc:docMk/>
            <pc:sldMk cId="3162301888" sldId="268"/>
            <ac:spMk id="22" creationId="{EE1FECDC-6AD7-49D3-8478-0CD024AFC048}"/>
          </ac:spMkLst>
        </pc:spChg>
        <pc:spChg chg="del">
          <ac:chgData name="Cao Nguyễn Hoàng Hiệp" userId="29e31dbb-69b0-4c0d-9b1b-e95034dacd00" providerId="ADAL" clId="{8FB11CD8-E499-49B6-A88A-BEBA12A12DB6}" dt="2023-06-22T06:52:42.454" v="35" actId="478"/>
          <ac:spMkLst>
            <pc:docMk/>
            <pc:sldMk cId="3162301888" sldId="268"/>
            <ac:spMk id="23" creationId="{693F1E62-B633-4E4F-B9CB-8BC5244996EA}"/>
          </ac:spMkLst>
        </pc:spChg>
        <pc:spChg chg="del">
          <ac:chgData name="Cao Nguyễn Hoàng Hiệp" userId="29e31dbb-69b0-4c0d-9b1b-e95034dacd00" providerId="ADAL" clId="{8FB11CD8-E499-49B6-A88A-BEBA12A12DB6}" dt="2023-06-22T06:52:40.850" v="34" actId="478"/>
          <ac:spMkLst>
            <pc:docMk/>
            <pc:sldMk cId="3162301888" sldId="268"/>
            <ac:spMk id="24" creationId="{03913994-1CA9-4E3A-8DAC-5F7E2552C4E7}"/>
          </ac:spMkLst>
        </pc:spChg>
        <pc:spChg chg="del">
          <ac:chgData name="Cao Nguyễn Hoàng Hiệp" userId="29e31dbb-69b0-4c0d-9b1b-e95034dacd00" providerId="ADAL" clId="{8FB11CD8-E499-49B6-A88A-BEBA12A12DB6}" dt="2023-06-22T06:52:40.850" v="34" actId="478"/>
          <ac:spMkLst>
            <pc:docMk/>
            <pc:sldMk cId="3162301888" sldId="268"/>
            <ac:spMk id="32" creationId="{C62FE702-E2B4-4022-9A51-14403547284A}"/>
          </ac:spMkLst>
        </pc:spChg>
        <pc:spChg chg="del">
          <ac:chgData name="Cao Nguyễn Hoàng Hiệp" userId="29e31dbb-69b0-4c0d-9b1b-e95034dacd00" providerId="ADAL" clId="{8FB11CD8-E499-49B6-A88A-BEBA12A12DB6}" dt="2023-06-22T06:52:40.850" v="34" actId="478"/>
          <ac:spMkLst>
            <pc:docMk/>
            <pc:sldMk cId="3162301888" sldId="268"/>
            <ac:spMk id="38" creationId="{FE38F7EB-2A95-468C-B749-1E7BB75E7190}"/>
          </ac:spMkLst>
        </pc:spChg>
        <pc:spChg chg="del mod">
          <ac:chgData name="Cao Nguyễn Hoàng Hiệp" userId="29e31dbb-69b0-4c0d-9b1b-e95034dacd00" providerId="ADAL" clId="{8FB11CD8-E499-49B6-A88A-BEBA12A12DB6}" dt="2023-06-22T06:52:44.917" v="39" actId="478"/>
          <ac:spMkLst>
            <pc:docMk/>
            <pc:sldMk cId="3162301888" sldId="268"/>
            <ac:spMk id="42" creationId="{CB0FC258-D8DA-4566-BB8B-82D1D2DBE4E6}"/>
          </ac:spMkLst>
        </pc:spChg>
        <pc:spChg chg="del">
          <ac:chgData name="Cao Nguyễn Hoàng Hiệp" userId="29e31dbb-69b0-4c0d-9b1b-e95034dacd00" providerId="ADAL" clId="{8FB11CD8-E499-49B6-A88A-BEBA12A12DB6}" dt="2023-06-22T06:52:45.413" v="40" actId="478"/>
          <ac:spMkLst>
            <pc:docMk/>
            <pc:sldMk cId="3162301888" sldId="268"/>
            <ac:spMk id="44" creationId="{3FCBEAB7-2EA5-4A72-999F-7695D420D9FA}"/>
          </ac:spMkLst>
        </pc:spChg>
        <pc:spChg chg="del">
          <ac:chgData name="Cao Nguyễn Hoàng Hiệp" userId="29e31dbb-69b0-4c0d-9b1b-e95034dacd00" providerId="ADAL" clId="{8FB11CD8-E499-49B6-A88A-BEBA12A12DB6}" dt="2023-06-22T06:52:40.850" v="34" actId="478"/>
          <ac:spMkLst>
            <pc:docMk/>
            <pc:sldMk cId="3162301888" sldId="268"/>
            <ac:spMk id="47" creationId="{479A60FF-862A-4F69-A815-1395BA3D72C6}"/>
          </ac:spMkLst>
        </pc:spChg>
        <pc:spChg chg="del">
          <ac:chgData name="Cao Nguyễn Hoàng Hiệp" userId="29e31dbb-69b0-4c0d-9b1b-e95034dacd00" providerId="ADAL" clId="{8FB11CD8-E499-49B6-A88A-BEBA12A12DB6}" dt="2023-06-22T06:52:46.790" v="41" actId="478"/>
          <ac:spMkLst>
            <pc:docMk/>
            <pc:sldMk cId="3162301888" sldId="268"/>
            <ac:spMk id="48" creationId="{06E17685-54F2-417D-A1EA-47220CF39478}"/>
          </ac:spMkLst>
        </pc:spChg>
        <pc:spChg chg="mod">
          <ac:chgData name="Cao Nguyễn Hoàng Hiệp" userId="29e31dbb-69b0-4c0d-9b1b-e95034dacd00" providerId="ADAL" clId="{8FB11CD8-E499-49B6-A88A-BEBA12A12DB6}" dt="2023-06-22T06:54:05.976" v="84" actId="20577"/>
          <ac:spMkLst>
            <pc:docMk/>
            <pc:sldMk cId="3162301888" sldId="268"/>
            <ac:spMk id="49" creationId="{06155B41-EB7E-42CD-B593-9C8A4FA5D10A}"/>
          </ac:spMkLst>
        </pc:spChg>
        <pc:spChg chg="del">
          <ac:chgData name="Cao Nguyễn Hoàng Hiệp" userId="29e31dbb-69b0-4c0d-9b1b-e95034dacd00" providerId="ADAL" clId="{8FB11CD8-E499-49B6-A88A-BEBA12A12DB6}" dt="2023-06-22T06:52:40.850" v="34" actId="478"/>
          <ac:spMkLst>
            <pc:docMk/>
            <pc:sldMk cId="3162301888" sldId="268"/>
            <ac:spMk id="50" creationId="{38348A3C-9AE2-42C6-A1BB-B3D42631D0EB}"/>
          </ac:spMkLst>
        </pc:spChg>
        <pc:spChg chg="del">
          <ac:chgData name="Cao Nguyễn Hoàng Hiệp" userId="29e31dbb-69b0-4c0d-9b1b-e95034dacd00" providerId="ADAL" clId="{8FB11CD8-E499-49B6-A88A-BEBA12A12DB6}" dt="2023-06-22T06:52:47.254" v="42" actId="478"/>
          <ac:spMkLst>
            <pc:docMk/>
            <pc:sldMk cId="3162301888" sldId="268"/>
            <ac:spMk id="52" creationId="{1A844FE5-779B-4617-BC0D-1E543716329F}"/>
          </ac:spMkLst>
        </pc:spChg>
        <pc:spChg chg="mod">
          <ac:chgData name="Cao Nguyễn Hoàng Hiệp" userId="29e31dbb-69b0-4c0d-9b1b-e95034dacd00" providerId="ADAL" clId="{8FB11CD8-E499-49B6-A88A-BEBA12A12DB6}" dt="2023-06-22T06:53:01.941" v="45" actId="1076"/>
          <ac:spMkLst>
            <pc:docMk/>
            <pc:sldMk cId="3162301888" sldId="268"/>
            <ac:spMk id="54" creationId="{CBB0475F-9156-4F9D-84A0-82A80AB333C0}"/>
          </ac:spMkLst>
        </pc:spChg>
        <pc:spChg chg="del">
          <ac:chgData name="Cao Nguyễn Hoàng Hiệp" userId="29e31dbb-69b0-4c0d-9b1b-e95034dacd00" providerId="ADAL" clId="{8FB11CD8-E499-49B6-A88A-BEBA12A12DB6}" dt="2023-06-22T06:52:48.277" v="43" actId="478"/>
          <ac:spMkLst>
            <pc:docMk/>
            <pc:sldMk cId="3162301888" sldId="268"/>
            <ac:spMk id="62" creationId="{C05D70D7-CB2C-44EF-94B7-CC8EA068AFB7}"/>
          </ac:spMkLst>
        </pc:spChg>
        <pc:spChg chg="del">
          <ac:chgData name="Cao Nguyễn Hoàng Hiệp" userId="29e31dbb-69b0-4c0d-9b1b-e95034dacd00" providerId="ADAL" clId="{8FB11CD8-E499-49B6-A88A-BEBA12A12DB6}" dt="2023-06-22T06:52:40.850" v="34" actId="478"/>
          <ac:spMkLst>
            <pc:docMk/>
            <pc:sldMk cId="3162301888" sldId="268"/>
            <ac:spMk id="67" creationId="{6C54DCD2-7FB4-40B9-A651-9E6038F8336E}"/>
          </ac:spMkLst>
        </pc:spChg>
        <pc:spChg chg="del">
          <ac:chgData name="Cao Nguyễn Hoàng Hiệp" userId="29e31dbb-69b0-4c0d-9b1b-e95034dacd00" providerId="ADAL" clId="{8FB11CD8-E499-49B6-A88A-BEBA12A12DB6}" dt="2023-06-22T06:52:40.850" v="34" actId="478"/>
          <ac:spMkLst>
            <pc:docMk/>
            <pc:sldMk cId="3162301888" sldId="268"/>
            <ac:spMk id="70" creationId="{31B6AB60-5543-4222-AB3E-45C2ED4CF735}"/>
          </ac:spMkLst>
        </pc:spChg>
        <pc:spChg chg="del">
          <ac:chgData name="Cao Nguyễn Hoàng Hiệp" userId="29e31dbb-69b0-4c0d-9b1b-e95034dacd00" providerId="ADAL" clId="{8FB11CD8-E499-49B6-A88A-BEBA12A12DB6}" dt="2023-06-22T06:52:40.850" v="34" actId="478"/>
          <ac:spMkLst>
            <pc:docMk/>
            <pc:sldMk cId="3162301888" sldId="268"/>
            <ac:spMk id="73" creationId="{01B8B489-362F-4B95-8793-F4A84D1982F9}"/>
          </ac:spMkLst>
        </pc:spChg>
        <pc:grpChg chg="del">
          <ac:chgData name="Cao Nguyễn Hoàng Hiệp" userId="29e31dbb-69b0-4c0d-9b1b-e95034dacd00" providerId="ADAL" clId="{8FB11CD8-E499-49B6-A88A-BEBA12A12DB6}" dt="2023-06-22T06:52:40.850" v="34" actId="478"/>
          <ac:grpSpMkLst>
            <pc:docMk/>
            <pc:sldMk cId="3162301888" sldId="268"/>
            <ac:grpSpMk id="28" creationId="{6F85B548-4EB7-43BD-9844-44F54927BE45}"/>
          </ac:grpSpMkLst>
        </pc:grpChg>
        <pc:grpChg chg="del">
          <ac:chgData name="Cao Nguyễn Hoàng Hiệp" userId="29e31dbb-69b0-4c0d-9b1b-e95034dacd00" providerId="ADAL" clId="{8FB11CD8-E499-49B6-A88A-BEBA12A12DB6}" dt="2023-06-22T06:52:40.850" v="34" actId="478"/>
          <ac:grpSpMkLst>
            <pc:docMk/>
            <pc:sldMk cId="3162301888" sldId="268"/>
            <ac:grpSpMk id="33" creationId="{88E02D7F-4810-4B77-8722-8EC80C1BC8C4}"/>
          </ac:grpSpMkLst>
        </pc:grpChg>
        <pc:grpChg chg="del">
          <ac:chgData name="Cao Nguyễn Hoàng Hiệp" userId="29e31dbb-69b0-4c0d-9b1b-e95034dacd00" providerId="ADAL" clId="{8FB11CD8-E499-49B6-A88A-BEBA12A12DB6}" dt="2023-06-22T06:52:40.850" v="34" actId="478"/>
          <ac:grpSpMkLst>
            <pc:docMk/>
            <pc:sldMk cId="3162301888" sldId="268"/>
            <ac:grpSpMk id="39" creationId="{321AB510-ED20-41DF-9E0B-90B3DF210BC9}"/>
          </ac:grpSpMkLst>
        </pc:grpChg>
        <pc:cxnChg chg="del mod">
          <ac:chgData name="Cao Nguyễn Hoàng Hiệp" userId="29e31dbb-69b0-4c0d-9b1b-e95034dacd00" providerId="ADAL" clId="{8FB11CD8-E499-49B6-A88A-BEBA12A12DB6}" dt="2023-06-22T06:52:40.850" v="34" actId="478"/>
          <ac:cxnSpMkLst>
            <pc:docMk/>
            <pc:sldMk cId="3162301888" sldId="268"/>
            <ac:cxnSpMk id="43" creationId="{B8669DEE-8553-4492-A7CA-4A63B4F3D5A1}"/>
          </ac:cxnSpMkLst>
        </pc:cxnChg>
        <pc:cxnChg chg="del">
          <ac:chgData name="Cao Nguyễn Hoàng Hiệp" userId="29e31dbb-69b0-4c0d-9b1b-e95034dacd00" providerId="ADAL" clId="{8FB11CD8-E499-49B6-A88A-BEBA12A12DB6}" dt="2023-06-22T06:52:40.850" v="34" actId="478"/>
          <ac:cxnSpMkLst>
            <pc:docMk/>
            <pc:sldMk cId="3162301888" sldId="268"/>
            <ac:cxnSpMk id="45" creationId="{AF223FA0-48CD-4F50-BD35-4FB941B702F1}"/>
          </ac:cxnSpMkLst>
        </pc:cxnChg>
        <pc:cxnChg chg="del">
          <ac:chgData name="Cao Nguyễn Hoàng Hiệp" userId="29e31dbb-69b0-4c0d-9b1b-e95034dacd00" providerId="ADAL" clId="{8FB11CD8-E499-49B6-A88A-BEBA12A12DB6}" dt="2023-06-22T06:52:40.850" v="34" actId="478"/>
          <ac:cxnSpMkLst>
            <pc:docMk/>
            <pc:sldMk cId="3162301888" sldId="268"/>
            <ac:cxnSpMk id="46" creationId="{98EBB554-A99A-4CEE-9030-3FA901F80F84}"/>
          </ac:cxnSpMkLst>
        </pc:cxnChg>
      </pc:sldChg>
      <pc:sldChg chg="add del">
        <pc:chgData name="Cao Nguyễn Hoàng Hiệp" userId="29e31dbb-69b0-4c0d-9b1b-e95034dacd00" providerId="ADAL" clId="{8FB11CD8-E499-49B6-A88A-BEBA12A12DB6}" dt="2023-06-20T09:16:29.588" v="17" actId="47"/>
        <pc:sldMkLst>
          <pc:docMk/>
          <pc:sldMk cId="662087790" sldId="269"/>
        </pc:sldMkLst>
      </pc:sldChg>
      <pc:sldChg chg="addSp delSp modSp add mod modTransition modAnim modNotesTx">
        <pc:chgData name="Cao Nguyễn Hoàng Hiệp" userId="29e31dbb-69b0-4c0d-9b1b-e95034dacd00" providerId="ADAL" clId="{8FB11CD8-E499-49B6-A88A-BEBA12A12DB6}" dt="2023-06-22T10:51:27.453" v="842" actId="1076"/>
        <pc:sldMkLst>
          <pc:docMk/>
          <pc:sldMk cId="3883375736" sldId="269"/>
        </pc:sldMkLst>
        <pc:spChg chg="add mod">
          <ac:chgData name="Cao Nguyễn Hoàng Hiệp" userId="29e31dbb-69b0-4c0d-9b1b-e95034dacd00" providerId="ADAL" clId="{8FB11CD8-E499-49B6-A88A-BEBA12A12DB6}" dt="2023-06-22T08:54:43.541" v="242" actId="255"/>
          <ac:spMkLst>
            <pc:docMk/>
            <pc:sldMk cId="3883375736" sldId="269"/>
            <ac:spMk id="2" creationId="{00340C1C-C5A5-C59C-4CF3-A8A32C4DADB5}"/>
          </ac:spMkLst>
        </pc:spChg>
        <pc:spChg chg="add del">
          <ac:chgData name="Cao Nguyễn Hoàng Hiệp" userId="29e31dbb-69b0-4c0d-9b1b-e95034dacd00" providerId="ADAL" clId="{8FB11CD8-E499-49B6-A88A-BEBA12A12DB6}" dt="2023-06-22T08:38:19.822" v="117" actId="478"/>
          <ac:spMkLst>
            <pc:docMk/>
            <pc:sldMk cId="3883375736" sldId="269"/>
            <ac:spMk id="3" creationId="{CC61DDA1-DFB3-8341-4403-B6117BA88421}"/>
          </ac:spMkLst>
        </pc:spChg>
        <pc:spChg chg="add del">
          <ac:chgData name="Cao Nguyễn Hoàng Hiệp" userId="29e31dbb-69b0-4c0d-9b1b-e95034dacd00" providerId="ADAL" clId="{8FB11CD8-E499-49B6-A88A-BEBA12A12DB6}" dt="2023-06-22T08:38:29.054" v="119" actId="478"/>
          <ac:spMkLst>
            <pc:docMk/>
            <pc:sldMk cId="3883375736" sldId="269"/>
            <ac:spMk id="4" creationId="{48E01356-3464-A6FF-06FD-6EB92D8C6200}"/>
          </ac:spMkLst>
        </pc:spChg>
        <pc:spChg chg="add">
          <ac:chgData name="Cao Nguyễn Hoàng Hiệp" userId="29e31dbb-69b0-4c0d-9b1b-e95034dacd00" providerId="ADAL" clId="{8FB11CD8-E499-49B6-A88A-BEBA12A12DB6}" dt="2023-06-22T08:38:33.084" v="120"/>
          <ac:spMkLst>
            <pc:docMk/>
            <pc:sldMk cId="3883375736" sldId="269"/>
            <ac:spMk id="6" creationId="{37A0B76A-B6F6-5B01-9D56-48CC71939000}"/>
          </ac:spMkLst>
        </pc:spChg>
        <pc:spChg chg="add del mod">
          <ac:chgData name="Cao Nguyễn Hoàng Hiệp" userId="29e31dbb-69b0-4c0d-9b1b-e95034dacd00" providerId="ADAL" clId="{8FB11CD8-E499-49B6-A88A-BEBA12A12DB6}" dt="2023-06-22T08:38:49.557" v="126" actId="478"/>
          <ac:spMkLst>
            <pc:docMk/>
            <pc:sldMk cId="3883375736" sldId="269"/>
            <ac:spMk id="7" creationId="{2060887B-9632-924F-76C4-F6454514720C}"/>
          </ac:spMkLst>
        </pc:spChg>
        <pc:spChg chg="mod">
          <ac:chgData name="Cao Nguyễn Hoàng Hiệp" userId="29e31dbb-69b0-4c0d-9b1b-e95034dacd00" providerId="ADAL" clId="{8FB11CD8-E499-49B6-A88A-BEBA12A12DB6}" dt="2023-06-22T10:51:27.453" v="842" actId="1076"/>
          <ac:spMkLst>
            <pc:docMk/>
            <pc:sldMk cId="3883375736" sldId="269"/>
            <ac:spMk id="49" creationId="{06155B41-EB7E-42CD-B593-9C8A4FA5D10A}"/>
          </ac:spMkLst>
        </pc:spChg>
        <pc:spChg chg="mod">
          <ac:chgData name="Cao Nguyễn Hoàng Hiệp" userId="29e31dbb-69b0-4c0d-9b1b-e95034dacd00" providerId="ADAL" clId="{8FB11CD8-E499-49B6-A88A-BEBA12A12DB6}" dt="2023-06-22T10:51:27.453" v="842" actId="1076"/>
          <ac:spMkLst>
            <pc:docMk/>
            <pc:sldMk cId="3883375736" sldId="269"/>
            <ac:spMk id="54" creationId="{CBB0475F-9156-4F9D-84A0-82A80AB333C0}"/>
          </ac:spMkLst>
        </pc:spChg>
        <pc:picChg chg="add del mod">
          <ac:chgData name="Cao Nguyễn Hoàng Hiệp" userId="29e31dbb-69b0-4c0d-9b1b-e95034dacd00" providerId="ADAL" clId="{8FB11CD8-E499-49B6-A88A-BEBA12A12DB6}" dt="2023-06-22T08:39:45.698" v="130" actId="478"/>
          <ac:picMkLst>
            <pc:docMk/>
            <pc:sldMk cId="3883375736" sldId="269"/>
            <ac:picMk id="9" creationId="{979092D1-319D-81A7-E084-416855E7BCB4}"/>
          </ac:picMkLst>
        </pc:picChg>
        <pc:picChg chg="add del mod">
          <ac:chgData name="Cao Nguyễn Hoàng Hiệp" userId="29e31dbb-69b0-4c0d-9b1b-e95034dacd00" providerId="ADAL" clId="{8FB11CD8-E499-49B6-A88A-BEBA12A12DB6}" dt="2023-06-22T08:40:06.602" v="137" actId="478"/>
          <ac:picMkLst>
            <pc:docMk/>
            <pc:sldMk cId="3883375736" sldId="269"/>
            <ac:picMk id="11" creationId="{13EDCD23-A312-C4A5-23A1-BF249C1566F9}"/>
          </ac:picMkLst>
        </pc:picChg>
        <pc:picChg chg="add mod">
          <ac:chgData name="Cao Nguyễn Hoàng Hiệp" userId="29e31dbb-69b0-4c0d-9b1b-e95034dacd00" providerId="ADAL" clId="{8FB11CD8-E499-49B6-A88A-BEBA12A12DB6}" dt="2023-06-22T08:42:34.560" v="166" actId="14100"/>
          <ac:picMkLst>
            <pc:docMk/>
            <pc:sldMk cId="3883375736" sldId="269"/>
            <ac:picMk id="13" creationId="{2F5D6EA6-938C-7595-0EB7-897ADC8B49F4}"/>
          </ac:picMkLst>
        </pc:picChg>
        <pc:picChg chg="add del mod">
          <ac:chgData name="Cao Nguyễn Hoàng Hiệp" userId="29e31dbb-69b0-4c0d-9b1b-e95034dacd00" providerId="ADAL" clId="{8FB11CD8-E499-49B6-A88A-BEBA12A12DB6}" dt="2023-06-22T08:42:35.773" v="167" actId="478"/>
          <ac:picMkLst>
            <pc:docMk/>
            <pc:sldMk cId="3883375736" sldId="269"/>
            <ac:picMk id="15" creationId="{041D5E37-C016-4959-FFFD-4A658A983E87}"/>
          </ac:picMkLst>
        </pc:picChg>
      </pc:sldChg>
      <pc:sldChg chg="add del">
        <pc:chgData name="Cao Nguyễn Hoàng Hiệp" userId="29e31dbb-69b0-4c0d-9b1b-e95034dacd00" providerId="ADAL" clId="{8FB11CD8-E499-49B6-A88A-BEBA12A12DB6}" dt="2023-06-22T08:54:05.163" v="234"/>
        <pc:sldMkLst>
          <pc:docMk/>
          <pc:sldMk cId="996533507" sldId="270"/>
        </pc:sldMkLst>
      </pc:sldChg>
      <pc:sldChg chg="addSp delSp modSp add mod modAnim modNotesTx">
        <pc:chgData name="Cao Nguyễn Hoàng Hiệp" userId="29e31dbb-69b0-4c0d-9b1b-e95034dacd00" providerId="ADAL" clId="{8FB11CD8-E499-49B6-A88A-BEBA12A12DB6}" dt="2023-06-22T09:35:17.815" v="767"/>
        <pc:sldMkLst>
          <pc:docMk/>
          <pc:sldMk cId="2488781384" sldId="270"/>
        </pc:sldMkLst>
        <pc:spChg chg="mod">
          <ac:chgData name="Cao Nguyễn Hoàng Hiệp" userId="29e31dbb-69b0-4c0d-9b1b-e95034dacd00" providerId="ADAL" clId="{8FB11CD8-E499-49B6-A88A-BEBA12A12DB6}" dt="2023-06-22T09:19:31.917" v="635" actId="1076"/>
          <ac:spMkLst>
            <pc:docMk/>
            <pc:sldMk cId="2488781384" sldId="270"/>
            <ac:spMk id="2" creationId="{00340C1C-C5A5-C59C-4CF3-A8A32C4DADB5}"/>
          </ac:spMkLst>
        </pc:spChg>
        <pc:spChg chg="add del">
          <ac:chgData name="Cao Nguyễn Hoàng Hiệp" userId="29e31dbb-69b0-4c0d-9b1b-e95034dacd00" providerId="ADAL" clId="{8FB11CD8-E499-49B6-A88A-BEBA12A12DB6}" dt="2023-06-22T09:08:18.460" v="246" actId="22"/>
          <ac:spMkLst>
            <pc:docMk/>
            <pc:sldMk cId="2488781384" sldId="270"/>
            <ac:spMk id="4" creationId="{9757BBDC-86CC-F044-343D-6C99D6B2674C}"/>
          </ac:spMkLst>
        </pc:spChg>
        <pc:spChg chg="add del mod">
          <ac:chgData name="Cao Nguyễn Hoàng Hiệp" userId="29e31dbb-69b0-4c0d-9b1b-e95034dacd00" providerId="ADAL" clId="{8FB11CD8-E499-49B6-A88A-BEBA12A12DB6}" dt="2023-06-22T09:25:58.550" v="695" actId="478"/>
          <ac:spMkLst>
            <pc:docMk/>
            <pc:sldMk cId="2488781384" sldId="270"/>
            <ac:spMk id="7" creationId="{E211D84E-4E6F-B29C-7BDA-6FF81C5776D0}"/>
          </ac:spMkLst>
        </pc:spChg>
        <pc:spChg chg="add del mod">
          <ac:chgData name="Cao Nguyễn Hoàng Hiệp" userId="29e31dbb-69b0-4c0d-9b1b-e95034dacd00" providerId="ADAL" clId="{8FB11CD8-E499-49B6-A88A-BEBA12A12DB6}" dt="2023-06-22T09:25:58.550" v="695" actId="478"/>
          <ac:spMkLst>
            <pc:docMk/>
            <pc:sldMk cId="2488781384" sldId="270"/>
            <ac:spMk id="8" creationId="{2FEAF144-3A80-071E-689E-0D73C14208F0}"/>
          </ac:spMkLst>
        </pc:spChg>
        <pc:spChg chg="add mod">
          <ac:chgData name="Cao Nguyễn Hoàng Hiệp" userId="29e31dbb-69b0-4c0d-9b1b-e95034dacd00" providerId="ADAL" clId="{8FB11CD8-E499-49B6-A88A-BEBA12A12DB6}" dt="2023-06-22T09:29:01.731" v="724" actId="1076"/>
          <ac:spMkLst>
            <pc:docMk/>
            <pc:sldMk cId="2488781384" sldId="270"/>
            <ac:spMk id="9" creationId="{6D62F71D-AE6C-D37A-ADED-1548074FEDE3}"/>
          </ac:spMkLst>
        </pc:spChg>
        <pc:spChg chg="mod">
          <ac:chgData name="Cao Nguyễn Hoàng Hiệp" userId="29e31dbb-69b0-4c0d-9b1b-e95034dacd00" providerId="ADAL" clId="{8FB11CD8-E499-49B6-A88A-BEBA12A12DB6}" dt="2023-06-22T09:35:17.815" v="767"/>
          <ac:spMkLst>
            <pc:docMk/>
            <pc:sldMk cId="2488781384" sldId="270"/>
            <ac:spMk id="49" creationId="{06155B41-EB7E-42CD-B593-9C8A4FA5D10A}"/>
          </ac:spMkLst>
        </pc:spChg>
        <pc:graphicFrameChg chg="add del mod modGraphic">
          <ac:chgData name="Cao Nguyễn Hoàng Hiệp" userId="29e31dbb-69b0-4c0d-9b1b-e95034dacd00" providerId="ADAL" clId="{8FB11CD8-E499-49B6-A88A-BEBA12A12DB6}" dt="2023-06-22T09:26:04.512" v="698" actId="478"/>
          <ac:graphicFrameMkLst>
            <pc:docMk/>
            <pc:sldMk cId="2488781384" sldId="270"/>
            <ac:graphicFrameMk id="10" creationId="{43A295DC-67C2-CBF9-0C6F-0306F11C0456}"/>
          </ac:graphicFrameMkLst>
        </pc:graphicFrameChg>
        <pc:graphicFrameChg chg="add mod modGraphic">
          <ac:chgData name="Cao Nguyễn Hoàng Hiệp" userId="29e31dbb-69b0-4c0d-9b1b-e95034dacd00" providerId="ADAL" clId="{8FB11CD8-E499-49B6-A88A-BEBA12A12DB6}" dt="2023-06-22T09:31:48.073" v="726" actId="1076"/>
          <ac:graphicFrameMkLst>
            <pc:docMk/>
            <pc:sldMk cId="2488781384" sldId="270"/>
            <ac:graphicFrameMk id="11" creationId="{8F316E94-EF0D-7FD3-8FFF-CD1DB1E2242C}"/>
          </ac:graphicFrameMkLst>
        </pc:graphicFrameChg>
        <pc:picChg chg="del mod">
          <ac:chgData name="Cao Nguyễn Hoàng Hiệp" userId="29e31dbb-69b0-4c0d-9b1b-e95034dacd00" providerId="ADAL" clId="{8FB11CD8-E499-49B6-A88A-BEBA12A12DB6}" dt="2023-06-22T08:54:31.566" v="239" actId="478"/>
          <ac:picMkLst>
            <pc:docMk/>
            <pc:sldMk cId="2488781384" sldId="270"/>
            <ac:picMk id="13" creationId="{2F5D6EA6-938C-7595-0EB7-897ADC8B49F4}"/>
          </ac:picMkLst>
        </pc:picChg>
      </pc:sldChg>
      <pc:sldChg chg="addSp delSp modSp add mod delAnim modNotesTx">
        <pc:chgData name="Cao Nguyễn Hoàng Hiệp" userId="29e31dbb-69b0-4c0d-9b1b-e95034dacd00" providerId="ADAL" clId="{8FB11CD8-E499-49B6-A88A-BEBA12A12DB6}" dt="2023-06-22T10:33:23.027" v="840" actId="14100"/>
        <pc:sldMkLst>
          <pc:docMk/>
          <pc:sldMk cId="2981287616" sldId="271"/>
        </pc:sldMkLst>
        <pc:spChg chg="del">
          <ac:chgData name="Cao Nguyễn Hoàng Hiệp" userId="29e31dbb-69b0-4c0d-9b1b-e95034dacd00" providerId="ADAL" clId="{8FB11CD8-E499-49B6-A88A-BEBA12A12DB6}" dt="2023-06-22T09:32:23.875" v="764" actId="478"/>
          <ac:spMkLst>
            <pc:docMk/>
            <pc:sldMk cId="2981287616" sldId="271"/>
            <ac:spMk id="2" creationId="{00340C1C-C5A5-C59C-4CF3-A8A32C4DADB5}"/>
          </ac:spMkLst>
        </pc:spChg>
        <pc:spChg chg="add mod">
          <ac:chgData name="Cao Nguyễn Hoàng Hiệp" userId="29e31dbb-69b0-4c0d-9b1b-e95034dacd00" providerId="ADAL" clId="{8FB11CD8-E499-49B6-A88A-BEBA12A12DB6}" dt="2023-06-22T10:33:23.027" v="840" actId="14100"/>
          <ac:spMkLst>
            <pc:docMk/>
            <pc:sldMk cId="2981287616" sldId="271"/>
            <ac:spMk id="3" creationId="{C5319C80-1BC1-10EA-C669-EC425E6F59FC}"/>
          </ac:spMkLst>
        </pc:spChg>
        <pc:spChg chg="mod">
          <ac:chgData name="Cao Nguyễn Hoàng Hiệp" userId="29e31dbb-69b0-4c0d-9b1b-e95034dacd00" providerId="ADAL" clId="{8FB11CD8-E499-49B6-A88A-BEBA12A12DB6}" dt="2023-06-22T10:18:50.024" v="778" actId="20577"/>
          <ac:spMkLst>
            <pc:docMk/>
            <pc:sldMk cId="2981287616" sldId="271"/>
            <ac:spMk id="9" creationId="{6D62F71D-AE6C-D37A-ADED-1548074FEDE3}"/>
          </ac:spMkLst>
        </pc:spChg>
        <pc:spChg chg="mod">
          <ac:chgData name="Cao Nguyễn Hoàng Hiệp" userId="29e31dbb-69b0-4c0d-9b1b-e95034dacd00" providerId="ADAL" clId="{8FB11CD8-E499-49B6-A88A-BEBA12A12DB6}" dt="2023-06-22T09:35:19.613" v="768"/>
          <ac:spMkLst>
            <pc:docMk/>
            <pc:sldMk cId="2981287616" sldId="271"/>
            <ac:spMk id="49" creationId="{06155B41-EB7E-42CD-B593-9C8A4FA5D10A}"/>
          </ac:spMkLst>
        </pc:spChg>
        <pc:graphicFrameChg chg="del modGraphic">
          <ac:chgData name="Cao Nguyễn Hoàng Hiệp" userId="29e31dbb-69b0-4c0d-9b1b-e95034dacd00" providerId="ADAL" clId="{8FB11CD8-E499-49B6-A88A-BEBA12A12DB6}" dt="2023-06-22T09:32:31.917" v="766" actId="478"/>
          <ac:graphicFrameMkLst>
            <pc:docMk/>
            <pc:sldMk cId="2981287616" sldId="271"/>
            <ac:graphicFrameMk id="11" creationId="{8F316E94-EF0D-7FD3-8FFF-CD1DB1E2242C}"/>
          </ac:graphicFrameMkLst>
        </pc:graphicFrameChg>
      </pc:sldChg>
      <pc:sldChg chg="modSp add mod">
        <pc:chgData name="Cao Nguyễn Hoàng Hiệp" userId="29e31dbb-69b0-4c0d-9b1b-e95034dacd00" providerId="ADAL" clId="{8FB11CD8-E499-49B6-A88A-BEBA12A12DB6}" dt="2023-06-22T10:27:31.009" v="834" actId="20577"/>
        <pc:sldMkLst>
          <pc:docMk/>
          <pc:sldMk cId="3303659237" sldId="272"/>
        </pc:sldMkLst>
        <pc:spChg chg="mod">
          <ac:chgData name="Cao Nguyễn Hoàng Hiệp" userId="29e31dbb-69b0-4c0d-9b1b-e95034dacd00" providerId="ADAL" clId="{8FB11CD8-E499-49B6-A88A-BEBA12A12DB6}" dt="2023-06-22T10:27:31.009" v="834" actId="20577"/>
          <ac:spMkLst>
            <pc:docMk/>
            <pc:sldMk cId="3303659237" sldId="272"/>
            <ac:spMk id="49" creationId="{06155B41-EB7E-42CD-B593-9C8A4FA5D10A}"/>
          </ac:spMkLst>
        </pc:spChg>
      </pc:sldChg>
      <pc:sldChg chg="delSp modSp add del mod modNotesTx">
        <pc:chgData name="Cao Nguyễn Hoàng Hiệp" userId="29e31dbb-69b0-4c0d-9b1b-e95034dacd00" providerId="ADAL" clId="{8FB11CD8-E499-49B6-A88A-BEBA12A12DB6}" dt="2023-06-22T11:00:03.039" v="944" actId="47"/>
        <pc:sldMkLst>
          <pc:docMk/>
          <pc:sldMk cId="1487001635" sldId="273"/>
        </pc:sldMkLst>
        <pc:spChg chg="mod">
          <ac:chgData name="Cao Nguyễn Hoàng Hiệp" userId="29e31dbb-69b0-4c0d-9b1b-e95034dacd00" providerId="ADAL" clId="{8FB11CD8-E499-49B6-A88A-BEBA12A12DB6}" dt="2023-06-22T10:28:15.582" v="836"/>
          <ac:spMkLst>
            <pc:docMk/>
            <pc:sldMk cId="1487001635" sldId="273"/>
            <ac:spMk id="49" creationId="{06155B41-EB7E-42CD-B593-9C8A4FA5D10A}"/>
          </ac:spMkLst>
        </pc:spChg>
        <pc:picChg chg="del">
          <ac:chgData name="Cao Nguyễn Hoàng Hiệp" userId="29e31dbb-69b0-4c0d-9b1b-e95034dacd00" providerId="ADAL" clId="{8FB11CD8-E499-49B6-A88A-BEBA12A12DB6}" dt="2023-06-22T10:28:23.198" v="837" actId="478"/>
          <ac:picMkLst>
            <pc:docMk/>
            <pc:sldMk cId="1487001635" sldId="273"/>
            <ac:picMk id="13" creationId="{2F5D6EA6-938C-7595-0EB7-897ADC8B49F4}"/>
          </ac:picMkLst>
        </pc:picChg>
      </pc:sldChg>
      <pc:sldChg chg="delSp modSp add del mod modNotesTx">
        <pc:chgData name="Cao Nguyễn Hoàng Hiệp" userId="29e31dbb-69b0-4c0d-9b1b-e95034dacd00" providerId="ADAL" clId="{8FB11CD8-E499-49B6-A88A-BEBA12A12DB6}" dt="2023-06-22T10:58:49.771" v="857" actId="47"/>
        <pc:sldMkLst>
          <pc:docMk/>
          <pc:sldMk cId="1529832762" sldId="274"/>
        </pc:sldMkLst>
        <pc:spChg chg="del mod">
          <ac:chgData name="Cao Nguyễn Hoàng Hiệp" userId="29e31dbb-69b0-4c0d-9b1b-e95034dacd00" providerId="ADAL" clId="{8FB11CD8-E499-49B6-A88A-BEBA12A12DB6}" dt="2023-06-22T10:57:30.652" v="856" actId="478"/>
          <ac:spMkLst>
            <pc:docMk/>
            <pc:sldMk cId="1529832762" sldId="274"/>
            <ac:spMk id="3" creationId="{C5319C80-1BC1-10EA-C669-EC425E6F59FC}"/>
          </ac:spMkLst>
        </pc:spChg>
        <pc:spChg chg="del">
          <ac:chgData name="Cao Nguyễn Hoàng Hiệp" userId="29e31dbb-69b0-4c0d-9b1b-e95034dacd00" providerId="ADAL" clId="{8FB11CD8-E499-49B6-A88A-BEBA12A12DB6}" dt="2023-06-22T10:52:15.430" v="844" actId="478"/>
          <ac:spMkLst>
            <pc:docMk/>
            <pc:sldMk cId="1529832762" sldId="274"/>
            <ac:spMk id="9" creationId="{6D62F71D-AE6C-D37A-ADED-1548074FEDE3}"/>
          </ac:spMkLst>
        </pc:spChg>
      </pc:sldChg>
      <pc:sldChg chg="addSp delSp modSp add mod delAnim modAnim modNotesTx">
        <pc:chgData name="Cao Nguyễn Hoàng Hiệp" userId="29e31dbb-69b0-4c0d-9b1b-e95034dacd00" providerId="ADAL" clId="{8FB11CD8-E499-49B6-A88A-BEBA12A12DB6}" dt="2023-06-22T11:07:21.479" v="1055"/>
        <pc:sldMkLst>
          <pc:docMk/>
          <pc:sldMk cId="2322669168" sldId="274"/>
        </pc:sldMkLst>
        <pc:spChg chg="del">
          <ac:chgData name="Cao Nguyễn Hoàng Hiệp" userId="29e31dbb-69b0-4c0d-9b1b-e95034dacd00" providerId="ADAL" clId="{8FB11CD8-E499-49B6-A88A-BEBA12A12DB6}" dt="2023-06-22T11:00:43.711" v="957" actId="478"/>
          <ac:spMkLst>
            <pc:docMk/>
            <pc:sldMk cId="2322669168" sldId="274"/>
            <ac:spMk id="2" creationId="{00340C1C-C5A5-C59C-4CF3-A8A32C4DADB5}"/>
          </ac:spMkLst>
        </pc:spChg>
        <pc:spChg chg="add del mod">
          <ac:chgData name="Cao Nguyễn Hoàng Hiệp" userId="29e31dbb-69b0-4c0d-9b1b-e95034dacd00" providerId="ADAL" clId="{8FB11CD8-E499-49B6-A88A-BEBA12A12DB6}" dt="2023-06-22T11:01:51.031" v="969" actId="478"/>
          <ac:spMkLst>
            <pc:docMk/>
            <pc:sldMk cId="2322669168" sldId="274"/>
            <ac:spMk id="3" creationId="{EE902117-58F0-5B91-168A-3DC171B6F476}"/>
          </ac:spMkLst>
        </pc:spChg>
        <pc:spChg chg="del">
          <ac:chgData name="Cao Nguyễn Hoàng Hiệp" userId="29e31dbb-69b0-4c0d-9b1b-e95034dacd00" providerId="ADAL" clId="{8FB11CD8-E499-49B6-A88A-BEBA12A12DB6}" dt="2023-06-22T11:01:51.031" v="969" actId="478"/>
          <ac:spMkLst>
            <pc:docMk/>
            <pc:sldMk cId="2322669168" sldId="274"/>
            <ac:spMk id="6" creationId="{37A0B76A-B6F6-5B01-9D56-48CC71939000}"/>
          </ac:spMkLst>
        </pc:spChg>
        <pc:spChg chg="mod">
          <ac:chgData name="Cao Nguyễn Hoàng Hiệp" userId="29e31dbb-69b0-4c0d-9b1b-e95034dacd00" providerId="ADAL" clId="{8FB11CD8-E499-49B6-A88A-BEBA12A12DB6}" dt="2023-06-22T11:01:41.505" v="966" actId="113"/>
          <ac:spMkLst>
            <pc:docMk/>
            <pc:sldMk cId="2322669168" sldId="274"/>
            <ac:spMk id="9" creationId="{6D62F71D-AE6C-D37A-ADED-1548074FEDE3}"/>
          </ac:spMkLst>
        </pc:spChg>
        <pc:spChg chg="mod">
          <ac:chgData name="Cao Nguyễn Hoàng Hiệp" userId="29e31dbb-69b0-4c0d-9b1b-e95034dacd00" providerId="ADAL" clId="{8FB11CD8-E499-49B6-A88A-BEBA12A12DB6}" dt="2023-06-22T11:00:08.433" v="945"/>
          <ac:spMkLst>
            <pc:docMk/>
            <pc:sldMk cId="2322669168" sldId="274"/>
            <ac:spMk id="49" creationId="{06155B41-EB7E-42CD-B593-9C8A4FA5D10A}"/>
          </ac:spMkLst>
        </pc:spChg>
        <pc:graphicFrameChg chg="del">
          <ac:chgData name="Cao Nguyễn Hoàng Hiệp" userId="29e31dbb-69b0-4c0d-9b1b-e95034dacd00" providerId="ADAL" clId="{8FB11CD8-E499-49B6-A88A-BEBA12A12DB6}" dt="2023-06-22T11:01:43.606" v="967" actId="478"/>
          <ac:graphicFrameMkLst>
            <pc:docMk/>
            <pc:sldMk cId="2322669168" sldId="274"/>
            <ac:graphicFrameMk id="11" creationId="{8F316E94-EF0D-7FD3-8FFF-CD1DB1E2242C}"/>
          </ac:graphicFrameMkLst>
        </pc:graphicFrameChg>
        <pc:picChg chg="add del mod">
          <ac:chgData name="Cao Nguyễn Hoàng Hiệp" userId="29e31dbb-69b0-4c0d-9b1b-e95034dacd00" providerId="ADAL" clId="{8FB11CD8-E499-49B6-A88A-BEBA12A12DB6}" dt="2023-06-22T11:02:22.196" v="971"/>
          <ac:picMkLst>
            <pc:docMk/>
            <pc:sldMk cId="2322669168" sldId="274"/>
            <ac:picMk id="7" creationId="{23AB5C3E-AA65-7C2B-C1FF-903491906F42}"/>
          </ac:picMkLst>
        </pc:picChg>
        <pc:picChg chg="add del mod">
          <ac:chgData name="Cao Nguyễn Hoàng Hiệp" userId="29e31dbb-69b0-4c0d-9b1b-e95034dacd00" providerId="ADAL" clId="{8FB11CD8-E499-49B6-A88A-BEBA12A12DB6}" dt="2023-06-22T11:02:22.196" v="971"/>
          <ac:picMkLst>
            <pc:docMk/>
            <pc:sldMk cId="2322669168" sldId="274"/>
            <ac:picMk id="10" creationId="{C5A1DBDA-415C-6D07-6AA7-4F7A817F5B3E}"/>
          </ac:picMkLst>
        </pc:picChg>
        <pc:picChg chg="add del mod">
          <ac:chgData name="Cao Nguyễn Hoàng Hiệp" userId="29e31dbb-69b0-4c0d-9b1b-e95034dacd00" providerId="ADAL" clId="{8FB11CD8-E499-49B6-A88A-BEBA12A12DB6}" dt="2023-06-22T11:02:22.196" v="971"/>
          <ac:picMkLst>
            <pc:docMk/>
            <pc:sldMk cId="2322669168" sldId="274"/>
            <ac:picMk id="13" creationId="{9433D1B7-B92C-B8FA-EBB9-A722848D38FA}"/>
          </ac:picMkLst>
        </pc:picChg>
        <pc:picChg chg="add mod">
          <ac:chgData name="Cao Nguyễn Hoàng Hiệp" userId="29e31dbb-69b0-4c0d-9b1b-e95034dacd00" providerId="ADAL" clId="{8FB11CD8-E499-49B6-A88A-BEBA12A12DB6}" dt="2023-06-22T11:02:38.038" v="980" actId="14100"/>
          <ac:picMkLst>
            <pc:docMk/>
            <pc:sldMk cId="2322669168" sldId="274"/>
            <ac:picMk id="15" creationId="{4C2C480B-732C-7654-3C61-BFC0F390CC49}"/>
          </ac:picMkLst>
        </pc:picChg>
        <pc:picChg chg="add mod">
          <ac:chgData name="Cao Nguyễn Hoàng Hiệp" userId="29e31dbb-69b0-4c0d-9b1b-e95034dacd00" providerId="ADAL" clId="{8FB11CD8-E499-49B6-A88A-BEBA12A12DB6}" dt="2023-06-22T11:02:58.303" v="991" actId="1076"/>
          <ac:picMkLst>
            <pc:docMk/>
            <pc:sldMk cId="2322669168" sldId="274"/>
            <ac:picMk id="17" creationId="{A5C09151-3F35-E7C9-A764-269A192DE4BC}"/>
          </ac:picMkLst>
        </pc:picChg>
        <pc:picChg chg="add mod">
          <ac:chgData name="Cao Nguyễn Hoàng Hiệp" userId="29e31dbb-69b0-4c0d-9b1b-e95034dacd00" providerId="ADAL" clId="{8FB11CD8-E499-49B6-A88A-BEBA12A12DB6}" dt="2023-06-22T11:03:02.442" v="992" actId="1076"/>
          <ac:picMkLst>
            <pc:docMk/>
            <pc:sldMk cId="2322669168" sldId="274"/>
            <ac:picMk id="20" creationId="{27303E63-A24D-E368-FA52-82436D7A1234}"/>
          </ac:picMkLst>
        </pc:picChg>
      </pc:sldChg>
      <pc:sldChg chg="modSp add del mod">
        <pc:chgData name="Cao Nguyễn Hoàng Hiệp" userId="29e31dbb-69b0-4c0d-9b1b-e95034dacd00" providerId="ADAL" clId="{8FB11CD8-E499-49B6-A88A-BEBA12A12DB6}" dt="2023-06-22T10:59:30.668" v="942" actId="47"/>
        <pc:sldMkLst>
          <pc:docMk/>
          <pc:sldMk cId="4036931914" sldId="274"/>
        </pc:sldMkLst>
        <pc:spChg chg="mod">
          <ac:chgData name="Cao Nguyễn Hoàng Hiệp" userId="29e31dbb-69b0-4c0d-9b1b-e95034dacd00" providerId="ADAL" clId="{8FB11CD8-E499-49B6-A88A-BEBA12A12DB6}" dt="2023-06-22T10:59:06.465" v="859" actId="20577"/>
          <ac:spMkLst>
            <pc:docMk/>
            <pc:sldMk cId="4036931914" sldId="274"/>
            <ac:spMk id="3" creationId="{C5319C80-1BC1-10EA-C669-EC425E6F59FC}"/>
          </ac:spMkLst>
        </pc:spChg>
        <pc:spChg chg="mod">
          <ac:chgData name="Cao Nguyễn Hoàng Hiệp" userId="29e31dbb-69b0-4c0d-9b1b-e95034dacd00" providerId="ADAL" clId="{8FB11CD8-E499-49B6-A88A-BEBA12A12DB6}" dt="2023-06-22T10:59:28.512" v="941" actId="20577"/>
          <ac:spMkLst>
            <pc:docMk/>
            <pc:sldMk cId="4036931914" sldId="274"/>
            <ac:spMk id="9" creationId="{6D62F71D-AE6C-D37A-ADED-1548074FEDE3}"/>
          </ac:spMkLst>
        </pc:spChg>
      </pc:sldChg>
      <pc:sldChg chg="addSp delSp modSp add mod modAnim modNotesTx">
        <pc:chgData name="Cao Nguyễn Hoàng Hiệp" userId="29e31dbb-69b0-4c0d-9b1b-e95034dacd00" providerId="ADAL" clId="{8FB11CD8-E499-49B6-A88A-BEBA12A12DB6}" dt="2023-06-22T11:07:27.369" v="1058"/>
        <pc:sldMkLst>
          <pc:docMk/>
          <pc:sldMk cId="1745047973" sldId="275"/>
        </pc:sldMkLst>
        <pc:spChg chg="mod">
          <ac:chgData name="Cao Nguyễn Hoàng Hiệp" userId="29e31dbb-69b0-4c0d-9b1b-e95034dacd00" providerId="ADAL" clId="{8FB11CD8-E499-49B6-A88A-BEBA12A12DB6}" dt="2023-06-22T11:05:03.452" v="1007" actId="113"/>
          <ac:spMkLst>
            <pc:docMk/>
            <pc:sldMk cId="1745047973" sldId="275"/>
            <ac:spMk id="9" creationId="{6D62F71D-AE6C-D37A-ADED-1548074FEDE3}"/>
          </ac:spMkLst>
        </pc:spChg>
        <pc:picChg chg="add del mod">
          <ac:chgData name="Cao Nguyễn Hoàng Hiệp" userId="29e31dbb-69b0-4c0d-9b1b-e95034dacd00" providerId="ADAL" clId="{8FB11CD8-E499-49B6-A88A-BEBA12A12DB6}" dt="2023-06-22T11:05:44.586" v="1018"/>
          <ac:picMkLst>
            <pc:docMk/>
            <pc:sldMk cId="1745047973" sldId="275"/>
            <ac:picMk id="3" creationId="{1E218B9F-06E0-64C2-C0BF-8CFF5751F249}"/>
          </ac:picMkLst>
        </pc:picChg>
        <pc:picChg chg="add mod ord">
          <ac:chgData name="Cao Nguyễn Hoàng Hiệp" userId="29e31dbb-69b0-4c0d-9b1b-e95034dacd00" providerId="ADAL" clId="{8FB11CD8-E499-49B6-A88A-BEBA12A12DB6}" dt="2023-06-22T11:06:16.807" v="1031" actId="14100"/>
          <ac:picMkLst>
            <pc:docMk/>
            <pc:sldMk cId="1745047973" sldId="275"/>
            <ac:picMk id="6" creationId="{F4AC5CD0-D97E-35F8-F938-E358AA49B470}"/>
          </ac:picMkLst>
        </pc:picChg>
        <pc:picChg chg="add mod ord">
          <ac:chgData name="Cao Nguyễn Hoàng Hiệp" userId="29e31dbb-69b0-4c0d-9b1b-e95034dacd00" providerId="ADAL" clId="{8FB11CD8-E499-49B6-A88A-BEBA12A12DB6}" dt="2023-06-22T11:07:07.565" v="1052" actId="1076"/>
          <ac:picMkLst>
            <pc:docMk/>
            <pc:sldMk cId="1745047973" sldId="275"/>
            <ac:picMk id="8" creationId="{B7CBE0BB-99EF-4CDE-4478-D77CFC4041A3}"/>
          </ac:picMkLst>
        </pc:picChg>
        <pc:picChg chg="add mod">
          <ac:chgData name="Cao Nguyễn Hoàng Hiệp" userId="29e31dbb-69b0-4c0d-9b1b-e95034dacd00" providerId="ADAL" clId="{8FB11CD8-E499-49B6-A88A-BEBA12A12DB6}" dt="2023-06-22T11:07:01.737" v="1051" actId="1076"/>
          <ac:picMkLst>
            <pc:docMk/>
            <pc:sldMk cId="1745047973" sldId="275"/>
            <ac:picMk id="11" creationId="{6A294822-B4A7-092F-ED13-F94AC5AAA790}"/>
          </ac:picMkLst>
        </pc:picChg>
        <pc:picChg chg="add del">
          <ac:chgData name="Cao Nguyễn Hoàng Hiệp" userId="29e31dbb-69b0-4c0d-9b1b-e95034dacd00" providerId="ADAL" clId="{8FB11CD8-E499-49B6-A88A-BEBA12A12DB6}" dt="2023-06-22T11:06:12.408" v="1030" actId="478"/>
          <ac:picMkLst>
            <pc:docMk/>
            <pc:sldMk cId="1745047973" sldId="275"/>
            <ac:picMk id="15" creationId="{4C2C480B-732C-7654-3C61-BFC0F390CC49}"/>
          </ac:picMkLst>
        </pc:picChg>
        <pc:picChg chg="add del mod">
          <ac:chgData name="Cao Nguyễn Hoàng Hiệp" userId="29e31dbb-69b0-4c0d-9b1b-e95034dacd00" providerId="ADAL" clId="{8FB11CD8-E499-49B6-A88A-BEBA12A12DB6}" dt="2023-06-22T11:06:29.033" v="1039" actId="478"/>
          <ac:picMkLst>
            <pc:docMk/>
            <pc:sldMk cId="1745047973" sldId="275"/>
            <ac:picMk id="17" creationId="{A5C09151-3F35-E7C9-A764-269A192DE4BC}"/>
          </ac:picMkLst>
        </pc:picChg>
        <pc:picChg chg="add del">
          <ac:chgData name="Cao Nguyễn Hoàng Hiệp" userId="29e31dbb-69b0-4c0d-9b1b-e95034dacd00" providerId="ADAL" clId="{8FB11CD8-E499-49B6-A88A-BEBA12A12DB6}" dt="2023-06-22T11:06:44.375" v="1044" actId="478"/>
          <ac:picMkLst>
            <pc:docMk/>
            <pc:sldMk cId="1745047973" sldId="275"/>
            <ac:picMk id="20" creationId="{27303E63-A24D-E368-FA52-82436D7A1234}"/>
          </ac:picMkLst>
        </pc:picChg>
      </pc:sldChg>
      <pc:sldChg chg="addSp delSp modSp add mod delAnim modAnim">
        <pc:chgData name="Cao Nguyễn Hoàng Hiệp" userId="29e31dbb-69b0-4c0d-9b1b-e95034dacd00" providerId="ADAL" clId="{8FB11CD8-E499-49B6-A88A-BEBA12A12DB6}" dt="2023-06-22T11:10:01.041" v="1096" actId="1076"/>
        <pc:sldMkLst>
          <pc:docMk/>
          <pc:sldMk cId="29687727" sldId="276"/>
        </pc:sldMkLst>
        <pc:spChg chg="mod">
          <ac:chgData name="Cao Nguyễn Hoàng Hiệp" userId="29e31dbb-69b0-4c0d-9b1b-e95034dacd00" providerId="ADAL" clId="{8FB11CD8-E499-49B6-A88A-BEBA12A12DB6}" dt="2023-06-22T11:08:27.700" v="1068" actId="113"/>
          <ac:spMkLst>
            <pc:docMk/>
            <pc:sldMk cId="29687727" sldId="276"/>
            <ac:spMk id="9" creationId="{6D62F71D-AE6C-D37A-ADED-1548074FEDE3}"/>
          </ac:spMkLst>
        </pc:spChg>
        <pc:picChg chg="add mod">
          <ac:chgData name="Cao Nguyễn Hoàng Hiệp" userId="29e31dbb-69b0-4c0d-9b1b-e95034dacd00" providerId="ADAL" clId="{8FB11CD8-E499-49B6-A88A-BEBA12A12DB6}" dt="2023-06-22T11:09:10.213" v="1076" actId="14100"/>
          <ac:picMkLst>
            <pc:docMk/>
            <pc:sldMk cId="29687727" sldId="276"/>
            <ac:picMk id="3" creationId="{54CECFFD-C539-865B-83AA-5E56403DCBA1}"/>
          </ac:picMkLst>
        </pc:picChg>
        <pc:picChg chg="del">
          <ac:chgData name="Cao Nguyễn Hoàng Hiệp" userId="29e31dbb-69b0-4c0d-9b1b-e95034dacd00" providerId="ADAL" clId="{8FB11CD8-E499-49B6-A88A-BEBA12A12DB6}" dt="2023-06-22T11:08:33.930" v="1069" actId="478"/>
          <ac:picMkLst>
            <pc:docMk/>
            <pc:sldMk cId="29687727" sldId="276"/>
            <ac:picMk id="6" creationId="{F4AC5CD0-D97E-35F8-F938-E358AA49B470}"/>
          </ac:picMkLst>
        </pc:picChg>
        <pc:picChg chg="add mod">
          <ac:chgData name="Cao Nguyễn Hoàng Hiệp" userId="29e31dbb-69b0-4c0d-9b1b-e95034dacd00" providerId="ADAL" clId="{8FB11CD8-E499-49B6-A88A-BEBA12A12DB6}" dt="2023-06-22T11:09:59.046" v="1095" actId="1076"/>
          <ac:picMkLst>
            <pc:docMk/>
            <pc:sldMk cId="29687727" sldId="276"/>
            <ac:picMk id="7" creationId="{495098AC-AC0D-0A2E-9E37-6E5764858E74}"/>
          </ac:picMkLst>
        </pc:picChg>
        <pc:picChg chg="del">
          <ac:chgData name="Cao Nguyễn Hoàng Hiệp" userId="29e31dbb-69b0-4c0d-9b1b-e95034dacd00" providerId="ADAL" clId="{8FB11CD8-E499-49B6-A88A-BEBA12A12DB6}" dt="2023-06-22T11:08:34.491" v="1070" actId="478"/>
          <ac:picMkLst>
            <pc:docMk/>
            <pc:sldMk cId="29687727" sldId="276"/>
            <ac:picMk id="8" creationId="{B7CBE0BB-99EF-4CDE-4478-D77CFC4041A3}"/>
          </ac:picMkLst>
        </pc:picChg>
        <pc:picChg chg="del">
          <ac:chgData name="Cao Nguyễn Hoàng Hiệp" userId="29e31dbb-69b0-4c0d-9b1b-e95034dacd00" providerId="ADAL" clId="{8FB11CD8-E499-49B6-A88A-BEBA12A12DB6}" dt="2023-06-22T11:09:23.742" v="1084" actId="478"/>
          <ac:picMkLst>
            <pc:docMk/>
            <pc:sldMk cId="29687727" sldId="276"/>
            <ac:picMk id="11" creationId="{6A294822-B4A7-092F-ED13-F94AC5AAA790}"/>
          </ac:picMkLst>
        </pc:picChg>
        <pc:picChg chg="add mod">
          <ac:chgData name="Cao Nguyễn Hoàng Hiệp" userId="29e31dbb-69b0-4c0d-9b1b-e95034dacd00" providerId="ADAL" clId="{8FB11CD8-E499-49B6-A88A-BEBA12A12DB6}" dt="2023-06-22T11:10:01.041" v="1096" actId="1076"/>
          <ac:picMkLst>
            <pc:docMk/>
            <pc:sldMk cId="29687727" sldId="276"/>
            <ac:picMk id="12" creationId="{77B5506D-452B-9EC3-68B8-924C4835ED64}"/>
          </ac:picMkLst>
        </pc:picChg>
      </pc:sldChg>
      <pc:sldChg chg="modSp add mod">
        <pc:chgData name="Cao Nguyễn Hoàng Hiệp" userId="29e31dbb-69b0-4c0d-9b1b-e95034dacd00" providerId="ADAL" clId="{8FB11CD8-E499-49B6-A88A-BEBA12A12DB6}" dt="2023-06-22T11:10:13.951" v="1098"/>
        <pc:sldMkLst>
          <pc:docMk/>
          <pc:sldMk cId="2117950588" sldId="277"/>
        </pc:sldMkLst>
        <pc:spChg chg="mod">
          <ac:chgData name="Cao Nguyễn Hoàng Hiệp" userId="29e31dbb-69b0-4c0d-9b1b-e95034dacd00" providerId="ADAL" clId="{8FB11CD8-E499-49B6-A88A-BEBA12A12DB6}" dt="2023-06-22T11:10:13.951" v="1098"/>
          <ac:spMkLst>
            <pc:docMk/>
            <pc:sldMk cId="2117950588" sldId="277"/>
            <ac:spMk id="49" creationId="{06155B41-EB7E-42CD-B593-9C8A4FA5D10A}"/>
          </ac:spMkLst>
        </pc:spChg>
      </pc:sldChg>
      <pc:sldChg chg="addSp delSp modSp add mod modTransition modAnim modNotesTx">
        <pc:chgData name="Cao Nguyễn Hoàng Hiệp" userId="29e31dbb-69b0-4c0d-9b1b-e95034dacd00" providerId="ADAL" clId="{8FB11CD8-E499-49B6-A88A-BEBA12A12DB6}" dt="2023-06-23T06:23:23.288" v="1547" actId="20577"/>
        <pc:sldMkLst>
          <pc:docMk/>
          <pc:sldMk cId="3667618010" sldId="278"/>
        </pc:sldMkLst>
        <pc:spChg chg="add mod">
          <ac:chgData name="Cao Nguyễn Hoàng Hiệp" userId="29e31dbb-69b0-4c0d-9b1b-e95034dacd00" providerId="ADAL" clId="{8FB11CD8-E499-49B6-A88A-BEBA12A12DB6}" dt="2023-06-23T04:47:58.136" v="1476" actId="1076"/>
          <ac:spMkLst>
            <pc:docMk/>
            <pc:sldMk cId="3667618010" sldId="278"/>
            <ac:spMk id="2" creationId="{E5F78F81-0756-E77E-AC5A-888FC4172826}"/>
          </ac:spMkLst>
        </pc:spChg>
        <pc:spChg chg="del">
          <ac:chgData name="Cao Nguyễn Hoàng Hiệp" userId="29e31dbb-69b0-4c0d-9b1b-e95034dacd00" providerId="ADAL" clId="{8FB11CD8-E499-49B6-A88A-BEBA12A12DB6}" dt="2023-06-22T11:15:16.596" v="1106" actId="478"/>
          <ac:spMkLst>
            <pc:docMk/>
            <pc:sldMk cId="3667618010" sldId="278"/>
            <ac:spMk id="3" creationId="{C5319C80-1BC1-10EA-C669-EC425E6F59FC}"/>
          </ac:spMkLst>
        </pc:spChg>
        <pc:spChg chg="add mod">
          <ac:chgData name="Cao Nguyễn Hoàng Hiệp" userId="29e31dbb-69b0-4c0d-9b1b-e95034dacd00" providerId="ADAL" clId="{8FB11CD8-E499-49B6-A88A-BEBA12A12DB6}" dt="2023-06-23T04:49:56.953" v="1485" actId="14100"/>
          <ac:spMkLst>
            <pc:docMk/>
            <pc:sldMk cId="3667618010" sldId="278"/>
            <ac:spMk id="4" creationId="{281AD869-BCD6-6EA2-E704-A0F84C5F89DE}"/>
          </ac:spMkLst>
        </pc:spChg>
        <pc:spChg chg="mod">
          <ac:chgData name="Cao Nguyễn Hoàng Hiệp" userId="29e31dbb-69b0-4c0d-9b1b-e95034dacd00" providerId="ADAL" clId="{8FB11CD8-E499-49B6-A88A-BEBA12A12DB6}" dt="2023-06-23T03:49:09.837" v="1236" actId="14100"/>
          <ac:spMkLst>
            <pc:docMk/>
            <pc:sldMk cId="3667618010" sldId="278"/>
            <ac:spMk id="9" creationId="{6D62F71D-AE6C-D37A-ADED-1548074FEDE3}"/>
          </ac:spMkLst>
        </pc:spChg>
        <pc:spChg chg="add del">
          <ac:chgData name="Cao Nguyễn Hoàng Hiệp" userId="29e31dbb-69b0-4c0d-9b1b-e95034dacd00" providerId="ADAL" clId="{8FB11CD8-E499-49B6-A88A-BEBA12A12DB6}" dt="2023-06-23T04:08:37.655" v="1293" actId="478"/>
          <ac:spMkLst>
            <pc:docMk/>
            <pc:sldMk cId="3667618010" sldId="278"/>
            <ac:spMk id="17" creationId="{5A449ED1-1468-701E-689C-54CF58BEE43E}"/>
          </ac:spMkLst>
        </pc:spChg>
        <pc:spChg chg="add mod">
          <ac:chgData name="Cao Nguyễn Hoàng Hiệp" userId="29e31dbb-69b0-4c0d-9b1b-e95034dacd00" providerId="ADAL" clId="{8FB11CD8-E499-49B6-A88A-BEBA12A12DB6}" dt="2023-06-23T04:14:55.655" v="1346" actId="14100"/>
          <ac:spMkLst>
            <pc:docMk/>
            <pc:sldMk cId="3667618010" sldId="278"/>
            <ac:spMk id="18" creationId="{6AF2B246-43FA-6F99-CEF2-23106C02D1B1}"/>
          </ac:spMkLst>
        </pc:spChg>
        <pc:spChg chg="add del mod">
          <ac:chgData name="Cao Nguyễn Hoàng Hiệp" userId="29e31dbb-69b0-4c0d-9b1b-e95034dacd00" providerId="ADAL" clId="{8FB11CD8-E499-49B6-A88A-BEBA12A12DB6}" dt="2023-06-23T04:42:54.999" v="1348" actId="478"/>
          <ac:spMkLst>
            <pc:docMk/>
            <pc:sldMk cId="3667618010" sldId="278"/>
            <ac:spMk id="21" creationId="{C43AF811-9E8E-725B-8646-A950CB9CC8D1}"/>
          </ac:spMkLst>
        </pc:spChg>
        <pc:spChg chg="mod">
          <ac:chgData name="Cao Nguyễn Hoàng Hiệp" userId="29e31dbb-69b0-4c0d-9b1b-e95034dacd00" providerId="ADAL" clId="{8FB11CD8-E499-49B6-A88A-BEBA12A12DB6}" dt="2023-06-22T11:13:58.170" v="1100"/>
          <ac:spMkLst>
            <pc:docMk/>
            <pc:sldMk cId="3667618010" sldId="278"/>
            <ac:spMk id="49" creationId="{06155B41-EB7E-42CD-B593-9C8A4FA5D10A}"/>
          </ac:spMkLst>
        </pc:spChg>
        <pc:grpChg chg="add mod">
          <ac:chgData name="Cao Nguyễn Hoàng Hiệp" userId="29e31dbb-69b0-4c0d-9b1b-e95034dacd00" providerId="ADAL" clId="{8FB11CD8-E499-49B6-A88A-BEBA12A12DB6}" dt="2023-06-23T04:09:28.025" v="1309" actId="164"/>
          <ac:grpSpMkLst>
            <pc:docMk/>
            <pc:sldMk cId="3667618010" sldId="278"/>
            <ac:grpSpMk id="20" creationId="{E7B49B70-DDE7-D7D0-9186-13783B096EED}"/>
          </ac:grpSpMkLst>
        </pc:grpChg>
        <pc:picChg chg="add del mod">
          <ac:chgData name="Cao Nguyễn Hoàng Hiệp" userId="29e31dbb-69b0-4c0d-9b1b-e95034dacd00" providerId="ADAL" clId="{8FB11CD8-E499-49B6-A88A-BEBA12A12DB6}" dt="2023-06-23T04:01:34.868" v="1263" actId="478"/>
          <ac:picMkLst>
            <pc:docMk/>
            <pc:sldMk cId="3667618010" sldId="278"/>
            <ac:picMk id="8" creationId="{FC1D2D6F-E6BE-C154-4D6F-A48856EB9D5E}"/>
          </ac:picMkLst>
        </pc:picChg>
        <pc:picChg chg="add mod">
          <ac:chgData name="Cao Nguyễn Hoàng Hiệp" userId="29e31dbb-69b0-4c0d-9b1b-e95034dacd00" providerId="ADAL" clId="{8FB11CD8-E499-49B6-A88A-BEBA12A12DB6}" dt="2023-06-23T04:02:11.357" v="1267" actId="1076"/>
          <ac:picMkLst>
            <pc:docMk/>
            <pc:sldMk cId="3667618010" sldId="278"/>
            <ac:picMk id="11" creationId="{F16DA9AF-17A2-ED9C-D0C7-7B5CBFEAC419}"/>
          </ac:picMkLst>
        </pc:picChg>
        <pc:picChg chg="add mod">
          <ac:chgData name="Cao Nguyễn Hoàng Hiệp" userId="29e31dbb-69b0-4c0d-9b1b-e95034dacd00" providerId="ADAL" clId="{8FB11CD8-E499-49B6-A88A-BEBA12A12DB6}" dt="2023-06-23T04:04:27.821" v="1284" actId="1076"/>
          <ac:picMkLst>
            <pc:docMk/>
            <pc:sldMk cId="3667618010" sldId="278"/>
            <ac:picMk id="13" creationId="{7D2597CC-2730-7FA0-664A-8BAF05E9FC6D}"/>
          </ac:picMkLst>
        </pc:picChg>
        <pc:picChg chg="add mod">
          <ac:chgData name="Cao Nguyễn Hoàng Hiệp" userId="29e31dbb-69b0-4c0d-9b1b-e95034dacd00" providerId="ADAL" clId="{8FB11CD8-E499-49B6-A88A-BEBA12A12DB6}" dt="2023-06-23T04:09:28.025" v="1309" actId="164"/>
          <ac:picMkLst>
            <pc:docMk/>
            <pc:sldMk cId="3667618010" sldId="278"/>
            <ac:picMk id="15" creationId="{441AB39D-539A-A2A8-5C20-6071BB6EC5C1}"/>
          </ac:picMkLst>
        </pc:picChg>
        <pc:picChg chg="add mod">
          <ac:chgData name="Cao Nguyễn Hoàng Hiệp" userId="29e31dbb-69b0-4c0d-9b1b-e95034dacd00" providerId="ADAL" clId="{8FB11CD8-E499-49B6-A88A-BEBA12A12DB6}" dt="2023-06-23T04:45:15.190" v="1358" actId="1076"/>
          <ac:picMkLst>
            <pc:docMk/>
            <pc:sldMk cId="3667618010" sldId="278"/>
            <ac:picMk id="23" creationId="{C07318FF-E26F-ADB5-FB64-72D8AB26337D}"/>
          </ac:picMkLst>
        </pc:picChg>
        <pc:picChg chg="add mod">
          <ac:chgData name="Cao Nguyễn Hoàng Hiệp" userId="29e31dbb-69b0-4c0d-9b1b-e95034dacd00" providerId="ADAL" clId="{8FB11CD8-E499-49B6-A88A-BEBA12A12DB6}" dt="2023-06-23T04:45:25.902" v="1362" actId="962"/>
          <ac:picMkLst>
            <pc:docMk/>
            <pc:sldMk cId="3667618010" sldId="278"/>
            <ac:picMk id="25" creationId="{4F3862DA-557E-BFDF-46E5-6ACCAC007B30}"/>
          </ac:picMkLst>
        </pc:picChg>
      </pc:sldChg>
      <pc:sldChg chg="add del">
        <pc:chgData name="Cao Nguyễn Hoàng Hiệp" userId="29e31dbb-69b0-4c0d-9b1b-e95034dacd00" providerId="ADAL" clId="{8FB11CD8-E499-49B6-A88A-BEBA12A12DB6}" dt="2023-06-23T06:24:17.510" v="1549" actId="47"/>
        <pc:sldMkLst>
          <pc:docMk/>
          <pc:sldMk cId="536861420" sldId="279"/>
        </pc:sldMkLst>
      </pc:sldChg>
      <pc:sldMasterChg chg="del delSldLayout">
        <pc:chgData name="Cao Nguyễn Hoàng Hiệp" userId="29e31dbb-69b0-4c0d-9b1b-e95034dacd00" providerId="ADAL" clId="{8FB11CD8-E499-49B6-A88A-BEBA12A12DB6}" dt="2023-06-20T09:16:30.169" v="18" actId="47"/>
        <pc:sldMasterMkLst>
          <pc:docMk/>
          <pc:sldMasterMk cId="532489019" sldId="2147483648"/>
        </pc:sldMasterMkLst>
        <pc:sldLayoutChg chg="del">
          <pc:chgData name="Cao Nguyễn Hoàng Hiệp" userId="29e31dbb-69b0-4c0d-9b1b-e95034dacd00" providerId="ADAL" clId="{8FB11CD8-E499-49B6-A88A-BEBA12A12DB6}" dt="2023-06-20T09:16:30.169" v="18" actId="47"/>
          <pc:sldLayoutMkLst>
            <pc:docMk/>
            <pc:sldMasterMk cId="532489019" sldId="2147483648"/>
            <pc:sldLayoutMk cId="4066591024" sldId="2147483649"/>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2714514562" sldId="2147483650"/>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2116293713" sldId="2147483651"/>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1092958500" sldId="2147483652"/>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2417386410" sldId="2147483653"/>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3128724801" sldId="2147483654"/>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629318570" sldId="2147483655"/>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838687946" sldId="2147483656"/>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320515902" sldId="2147483657"/>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1522304979" sldId="2147483658"/>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1354599964" sldId="2147483659"/>
          </pc:sldLayoutMkLst>
        </pc:sldLayoutChg>
        <pc:sldLayoutChg chg="del">
          <pc:chgData name="Cao Nguyễn Hoàng Hiệp" userId="29e31dbb-69b0-4c0d-9b1b-e95034dacd00" providerId="ADAL" clId="{8FB11CD8-E499-49B6-A88A-BEBA12A12DB6}" dt="2023-06-20T09:16:30.169" v="18" actId="47"/>
          <pc:sldLayoutMkLst>
            <pc:docMk/>
            <pc:sldMasterMk cId="532489019" sldId="2147483648"/>
            <pc:sldLayoutMk cId="1038381483" sldId="2147483783"/>
          </pc:sldLayoutMkLst>
        </pc:sldLayoutChg>
      </pc:sldMasterChg>
    </pc:docChg>
  </pc:docChgLst>
  <pc:docChgLst>
    <pc:chgData name="Nguyễn Lê Nhật Trường" userId="b57f1783-2bfa-4d82-93dd-4655ec71c09f" providerId="ADAL" clId="{41025DA7-181F-491C-9FBD-FBB8E4B572F0}"/>
    <pc:docChg chg="undo redo custSel addSld delSld modSld sldOrd addMainMaster modMainMaster addSection modSection">
      <pc:chgData name="Nguyễn Lê Nhật Trường" userId="b57f1783-2bfa-4d82-93dd-4655ec71c09f" providerId="ADAL" clId="{41025DA7-181F-491C-9FBD-FBB8E4B572F0}" dt="2023-06-26T05:10:39.213" v="5272" actId="20577"/>
      <pc:docMkLst>
        <pc:docMk/>
      </pc:docMkLst>
      <pc:sldChg chg="addSp modSp mod">
        <pc:chgData name="Nguyễn Lê Nhật Trường" userId="b57f1783-2bfa-4d82-93dd-4655ec71c09f" providerId="ADAL" clId="{41025DA7-181F-491C-9FBD-FBB8E4B572F0}" dt="2023-06-20T02:12:30.747" v="322" actId="948"/>
        <pc:sldMkLst>
          <pc:docMk/>
          <pc:sldMk cId="2964104141" sldId="256"/>
        </pc:sldMkLst>
        <pc:spChg chg="mod">
          <ac:chgData name="Nguyễn Lê Nhật Trường" userId="b57f1783-2bfa-4d82-93dd-4655ec71c09f" providerId="ADAL" clId="{41025DA7-181F-491C-9FBD-FBB8E4B572F0}" dt="2023-06-20T02:12:30.747" v="322" actId="948"/>
          <ac:spMkLst>
            <pc:docMk/>
            <pc:sldMk cId="2964104141" sldId="256"/>
            <ac:spMk id="3" creationId="{A804C225-2C3C-7DE2-194C-F6A9A8B9DEE8}"/>
          </ac:spMkLst>
        </pc:spChg>
        <pc:spChg chg="add mod">
          <ac:chgData name="Nguyễn Lê Nhật Trường" userId="b57f1783-2bfa-4d82-93dd-4655ec71c09f" providerId="ADAL" clId="{41025DA7-181F-491C-9FBD-FBB8E4B572F0}" dt="2023-06-19T13:46:58.544" v="8" actId="1076"/>
          <ac:spMkLst>
            <pc:docMk/>
            <pc:sldMk cId="2964104141" sldId="256"/>
            <ac:spMk id="7" creationId="{591CAA3B-B14D-9F4D-D10E-E506073E29B3}"/>
          </ac:spMkLst>
        </pc:spChg>
      </pc:sldChg>
      <pc:sldChg chg="modSp add del mod">
        <pc:chgData name="Nguyễn Lê Nhật Trường" userId="b57f1783-2bfa-4d82-93dd-4655ec71c09f" providerId="ADAL" clId="{41025DA7-181F-491C-9FBD-FBB8E4B572F0}" dt="2023-06-25T17:57:22.036" v="4205" actId="47"/>
        <pc:sldMkLst>
          <pc:docMk/>
          <pc:sldMk cId="1088265327" sldId="257"/>
        </pc:sldMkLst>
        <pc:spChg chg="mod">
          <ac:chgData name="Nguyễn Lê Nhật Trường" userId="b57f1783-2bfa-4d82-93dd-4655ec71c09f" providerId="ADAL" clId="{41025DA7-181F-491C-9FBD-FBB8E4B572F0}" dt="2023-06-19T13:47:38.176" v="29" actId="403"/>
          <ac:spMkLst>
            <pc:docMk/>
            <pc:sldMk cId="1088265327" sldId="257"/>
            <ac:spMk id="2" creationId="{C6366DED-7696-60FE-DB67-E0C1A90263F4}"/>
          </ac:spMkLst>
        </pc:spChg>
        <pc:spChg chg="mod">
          <ac:chgData name="Nguyễn Lê Nhật Trường" userId="b57f1783-2bfa-4d82-93dd-4655ec71c09f" providerId="ADAL" clId="{41025DA7-181F-491C-9FBD-FBB8E4B572F0}" dt="2023-06-19T13:52:38.781" v="277" actId="179"/>
          <ac:spMkLst>
            <pc:docMk/>
            <pc:sldMk cId="1088265327" sldId="257"/>
            <ac:spMk id="5" creationId="{7A98AC72-EE2A-3D59-2D8A-0C18500C7F04}"/>
          </ac:spMkLst>
        </pc:spChg>
      </pc:sldChg>
      <pc:sldChg chg="addSp delSp modSp add del mod delAnim">
        <pc:chgData name="Nguyễn Lê Nhật Trường" userId="b57f1783-2bfa-4d82-93dd-4655ec71c09f" providerId="ADAL" clId="{41025DA7-181F-491C-9FBD-FBB8E4B572F0}" dt="2023-06-20T02:12:52.626" v="323" actId="47"/>
        <pc:sldMkLst>
          <pc:docMk/>
          <pc:sldMk cId="3578437679" sldId="258"/>
        </pc:sldMkLst>
        <pc:spChg chg="del">
          <ac:chgData name="Nguyễn Lê Nhật Trường" userId="b57f1783-2bfa-4d82-93dd-4655ec71c09f" providerId="ADAL" clId="{41025DA7-181F-491C-9FBD-FBB8E4B572F0}" dt="2023-06-19T14:29:48.691" v="281" actId="478"/>
          <ac:spMkLst>
            <pc:docMk/>
            <pc:sldMk cId="3578437679" sldId="258"/>
            <ac:spMk id="3" creationId="{EC14C456-5956-4084-B61D-AF781A4B7F58}"/>
          </ac:spMkLst>
        </pc:spChg>
        <pc:spChg chg="del">
          <ac:chgData name="Nguyễn Lê Nhật Trường" userId="b57f1783-2bfa-4d82-93dd-4655ec71c09f" providerId="ADAL" clId="{41025DA7-181F-491C-9FBD-FBB8E4B572F0}" dt="2023-06-19T14:29:44.152" v="278" actId="478"/>
          <ac:spMkLst>
            <pc:docMk/>
            <pc:sldMk cId="3578437679" sldId="258"/>
            <ac:spMk id="5" creationId="{1A8478E4-F187-4BD9-A2B3-C97D6980A03B}"/>
          </ac:spMkLst>
        </pc:spChg>
        <pc:spChg chg="add mod">
          <ac:chgData name="Nguyễn Lê Nhật Trường" userId="b57f1783-2bfa-4d82-93dd-4655ec71c09f" providerId="ADAL" clId="{41025DA7-181F-491C-9FBD-FBB8E4B572F0}" dt="2023-06-19T14:29:44.152" v="278" actId="478"/>
          <ac:spMkLst>
            <pc:docMk/>
            <pc:sldMk cId="3578437679" sldId="258"/>
            <ac:spMk id="8" creationId="{04FD7389-F17E-0474-B283-CE2052997F14}"/>
          </ac:spMkLst>
        </pc:spChg>
        <pc:picChg chg="del">
          <ac:chgData name="Nguyễn Lê Nhật Trường" userId="b57f1783-2bfa-4d82-93dd-4655ec71c09f" providerId="ADAL" clId="{41025DA7-181F-491C-9FBD-FBB8E4B572F0}" dt="2023-06-19T14:29:45.908" v="279" actId="478"/>
          <ac:picMkLst>
            <pc:docMk/>
            <pc:sldMk cId="3578437679" sldId="258"/>
            <ac:picMk id="2" creationId="{C94C9214-0497-4E3C-A8D6-74D2E1248FC6}"/>
          </ac:picMkLst>
        </pc:picChg>
        <pc:picChg chg="del">
          <ac:chgData name="Nguyễn Lê Nhật Trường" userId="b57f1783-2bfa-4d82-93dd-4655ec71c09f" providerId="ADAL" clId="{41025DA7-181F-491C-9FBD-FBB8E4B572F0}" dt="2023-06-19T14:29:46.556" v="280" actId="478"/>
          <ac:picMkLst>
            <pc:docMk/>
            <pc:sldMk cId="3578437679" sldId="258"/>
            <ac:picMk id="7" creationId="{CD2B345F-BBB2-450C-BB91-ADA0F2392056}"/>
          </ac:picMkLst>
        </pc:picChg>
      </pc:sldChg>
      <pc:sldChg chg="modSp add mod">
        <pc:chgData name="Nguyễn Lê Nhật Trường" userId="b57f1783-2bfa-4d82-93dd-4655ec71c09f" providerId="ADAL" clId="{41025DA7-181F-491C-9FBD-FBB8E4B572F0}" dt="2023-06-26T05:09:38.232" v="5176" actId="403"/>
        <pc:sldMkLst>
          <pc:docMk/>
          <pc:sldMk cId="3075972267" sldId="259"/>
        </pc:sldMkLst>
        <pc:spChg chg="mod">
          <ac:chgData name="Nguyễn Lê Nhật Trường" userId="b57f1783-2bfa-4d82-93dd-4655ec71c09f" providerId="ADAL" clId="{41025DA7-181F-491C-9FBD-FBB8E4B572F0}" dt="2023-06-26T05:09:38.232" v="5176" actId="403"/>
          <ac:spMkLst>
            <pc:docMk/>
            <pc:sldMk cId="3075972267" sldId="259"/>
            <ac:spMk id="5" creationId="{070CAD64-81D8-4938-88C5-B2634BA528A7}"/>
          </ac:spMkLst>
        </pc:spChg>
      </pc:sldChg>
      <pc:sldChg chg="add">
        <pc:chgData name="Nguyễn Lê Nhật Trường" userId="b57f1783-2bfa-4d82-93dd-4655ec71c09f" providerId="ADAL" clId="{41025DA7-181F-491C-9FBD-FBB8E4B572F0}" dt="2023-06-20T02:09:37.221" v="285"/>
        <pc:sldMkLst>
          <pc:docMk/>
          <pc:sldMk cId="1603485467" sldId="260"/>
        </pc:sldMkLst>
      </pc:sldChg>
      <pc:sldChg chg="add">
        <pc:chgData name="Nguyễn Lê Nhật Trường" userId="b57f1783-2bfa-4d82-93dd-4655ec71c09f" providerId="ADAL" clId="{41025DA7-181F-491C-9FBD-FBB8E4B572F0}" dt="2023-06-20T02:10:20.961" v="287"/>
        <pc:sldMkLst>
          <pc:docMk/>
          <pc:sldMk cId="1014534236" sldId="261"/>
        </pc:sldMkLst>
      </pc:sldChg>
      <pc:sldChg chg="modSp add del mod ord">
        <pc:chgData name="Nguyễn Lê Nhật Trường" userId="b57f1783-2bfa-4d82-93dd-4655ec71c09f" providerId="ADAL" clId="{41025DA7-181F-491C-9FBD-FBB8E4B572F0}" dt="2023-06-20T02:11:20.095" v="313" actId="47"/>
        <pc:sldMkLst>
          <pc:docMk/>
          <pc:sldMk cId="1536638465" sldId="262"/>
        </pc:sldMkLst>
        <pc:spChg chg="mod">
          <ac:chgData name="Nguyễn Lê Nhật Trường" userId="b57f1783-2bfa-4d82-93dd-4655ec71c09f" providerId="ADAL" clId="{41025DA7-181F-491C-9FBD-FBB8E4B572F0}" dt="2023-06-20T02:11:09.010" v="304"/>
          <ac:spMkLst>
            <pc:docMk/>
            <pc:sldMk cId="1536638465" sldId="262"/>
            <ac:spMk id="4" creationId="{92859AF0-8578-4A3F-9225-4185D0EAAF93}"/>
          </ac:spMkLst>
        </pc:spChg>
        <pc:spChg chg="mod">
          <ac:chgData name="Nguyễn Lê Nhật Trường" userId="b57f1783-2bfa-4d82-93dd-4655ec71c09f" providerId="ADAL" clId="{41025DA7-181F-491C-9FBD-FBB8E4B572F0}" dt="2023-06-20T02:10:44.357" v="291" actId="27636"/>
          <ac:spMkLst>
            <pc:docMk/>
            <pc:sldMk cId="1536638465" sldId="262"/>
            <ac:spMk id="7" creationId="{2D3D8B26-06E9-4C13-B78C-71A1385A0489}"/>
          </ac:spMkLst>
        </pc:spChg>
        <pc:spChg chg="mod">
          <ac:chgData name="Nguyễn Lê Nhật Trường" userId="b57f1783-2bfa-4d82-93dd-4655ec71c09f" providerId="ADAL" clId="{41025DA7-181F-491C-9FBD-FBB8E4B572F0}" dt="2023-06-20T02:10:44.369" v="294" actId="27636"/>
          <ac:spMkLst>
            <pc:docMk/>
            <pc:sldMk cId="1536638465" sldId="262"/>
            <ac:spMk id="8" creationId="{25F5B4B5-477D-4E94-9B40-3BAB12E915CD}"/>
          </ac:spMkLst>
        </pc:spChg>
        <pc:spChg chg="mod">
          <ac:chgData name="Nguyễn Lê Nhật Trường" userId="b57f1783-2bfa-4d82-93dd-4655ec71c09f" providerId="ADAL" clId="{41025DA7-181F-491C-9FBD-FBB8E4B572F0}" dt="2023-06-20T02:10:44.355" v="290" actId="27636"/>
          <ac:spMkLst>
            <pc:docMk/>
            <pc:sldMk cId="1536638465" sldId="262"/>
            <ac:spMk id="9" creationId="{F42F8BBF-E671-448B-B075-A247DA58E801}"/>
          </ac:spMkLst>
        </pc:spChg>
        <pc:spChg chg="mod">
          <ac:chgData name="Nguyễn Lê Nhật Trường" userId="b57f1783-2bfa-4d82-93dd-4655ec71c09f" providerId="ADAL" clId="{41025DA7-181F-491C-9FBD-FBB8E4B572F0}" dt="2023-06-20T02:10:44.364" v="292" actId="27636"/>
          <ac:spMkLst>
            <pc:docMk/>
            <pc:sldMk cId="1536638465" sldId="262"/>
            <ac:spMk id="10" creationId="{DE37A0B7-C50B-44FD-AB47-59DF58765F66}"/>
          </ac:spMkLst>
        </pc:spChg>
        <pc:spChg chg="mod">
          <ac:chgData name="Nguyễn Lê Nhật Trường" userId="b57f1783-2bfa-4d82-93dd-4655ec71c09f" providerId="ADAL" clId="{41025DA7-181F-491C-9FBD-FBB8E4B572F0}" dt="2023-06-20T02:10:44.367" v="293" actId="27636"/>
          <ac:spMkLst>
            <pc:docMk/>
            <pc:sldMk cId="1536638465" sldId="262"/>
            <ac:spMk id="11" creationId="{98E3E49D-0858-4973-9DBB-42775FD70034}"/>
          </ac:spMkLst>
        </pc:spChg>
      </pc:sldChg>
      <pc:sldChg chg="modSp add mod">
        <pc:chgData name="Nguyễn Lê Nhật Trường" userId="b57f1783-2bfa-4d82-93dd-4655ec71c09f" providerId="ADAL" clId="{41025DA7-181F-491C-9FBD-FBB8E4B572F0}" dt="2023-06-25T05:46:22.876" v="3575" actId="12789"/>
        <pc:sldMkLst>
          <pc:docMk/>
          <pc:sldMk cId="2416196287" sldId="262"/>
        </pc:sldMkLst>
        <pc:spChg chg="mod">
          <ac:chgData name="Nguyễn Lê Nhật Trường" userId="b57f1783-2bfa-4d82-93dd-4655ec71c09f" providerId="ADAL" clId="{41025DA7-181F-491C-9FBD-FBB8E4B572F0}" dt="2023-06-24T05:35:15.243" v="1287" actId="20577"/>
          <ac:spMkLst>
            <pc:docMk/>
            <pc:sldMk cId="2416196287" sldId="262"/>
            <ac:spMk id="2" creationId="{4BF62FB5-6D8D-4553-B9EB-4FD15EC32DC5}"/>
          </ac:spMkLst>
        </pc:spChg>
        <pc:spChg chg="mod">
          <ac:chgData name="Nguyễn Lê Nhật Trường" userId="b57f1783-2bfa-4d82-93dd-4655ec71c09f" providerId="ADAL" clId="{41025DA7-181F-491C-9FBD-FBB8E4B572F0}" dt="2023-06-24T05:18:19.892" v="757" actId="403"/>
          <ac:spMkLst>
            <pc:docMk/>
            <pc:sldMk cId="2416196287" sldId="262"/>
            <ac:spMk id="5" creationId="{00000000-0000-0000-0000-000000000000}"/>
          </ac:spMkLst>
        </pc:spChg>
        <pc:spChg chg="mod">
          <ac:chgData name="Nguyễn Lê Nhật Trường" userId="b57f1783-2bfa-4d82-93dd-4655ec71c09f" providerId="ADAL" clId="{41025DA7-181F-491C-9FBD-FBB8E4B572F0}" dt="2023-06-24T05:19:58.536" v="805" actId="20577"/>
          <ac:spMkLst>
            <pc:docMk/>
            <pc:sldMk cId="2416196287" sldId="262"/>
            <ac:spMk id="23" creationId="{693F1E62-B633-4E4F-B9CB-8BC5244996EA}"/>
          </ac:spMkLst>
        </pc:spChg>
        <pc:spChg chg="mod">
          <ac:chgData name="Nguyễn Lê Nhật Trường" userId="b57f1783-2bfa-4d82-93dd-4655ec71c09f" providerId="ADAL" clId="{41025DA7-181F-491C-9FBD-FBB8E4B572F0}" dt="2023-06-24T05:35:45.813" v="1356" actId="20577"/>
          <ac:spMkLst>
            <pc:docMk/>
            <pc:sldMk cId="2416196287" sldId="262"/>
            <ac:spMk id="42" creationId="{CB0FC258-D8DA-4566-BB8B-82D1D2DBE4E6}"/>
          </ac:spMkLst>
        </pc:spChg>
        <pc:spChg chg="mod">
          <ac:chgData name="Nguyễn Lê Nhật Trường" userId="b57f1783-2bfa-4d82-93dd-4655ec71c09f" providerId="ADAL" clId="{41025DA7-181F-491C-9FBD-FBB8E4B572F0}" dt="2023-06-24T05:37:17.317" v="1414" actId="313"/>
          <ac:spMkLst>
            <pc:docMk/>
            <pc:sldMk cId="2416196287" sldId="262"/>
            <ac:spMk id="44" creationId="{3FCBEAB7-2EA5-4A72-999F-7695D420D9FA}"/>
          </ac:spMkLst>
        </pc:spChg>
        <pc:spChg chg="mod">
          <ac:chgData name="Nguyễn Lê Nhật Trường" userId="b57f1783-2bfa-4d82-93dd-4655ec71c09f" providerId="ADAL" clId="{41025DA7-181F-491C-9FBD-FBB8E4B572F0}" dt="2023-06-25T05:46:22.876" v="3575" actId="12789"/>
          <ac:spMkLst>
            <pc:docMk/>
            <pc:sldMk cId="2416196287" sldId="262"/>
            <ac:spMk id="48" creationId="{06E17685-54F2-417D-A1EA-47220CF39478}"/>
          </ac:spMkLst>
        </pc:spChg>
        <pc:spChg chg="mod">
          <ac:chgData name="Nguyễn Lê Nhật Trường" userId="b57f1783-2bfa-4d82-93dd-4655ec71c09f" providerId="ADAL" clId="{41025DA7-181F-491C-9FBD-FBB8E4B572F0}" dt="2023-06-24T05:43:18.269" v="1694" actId="20577"/>
          <ac:spMkLst>
            <pc:docMk/>
            <pc:sldMk cId="2416196287" sldId="262"/>
            <ac:spMk id="49" creationId="{06155B41-EB7E-42CD-B593-9C8A4FA5D10A}"/>
          </ac:spMkLst>
        </pc:spChg>
        <pc:spChg chg="mod">
          <ac:chgData name="Nguyễn Lê Nhật Trường" userId="b57f1783-2bfa-4d82-93dd-4655ec71c09f" providerId="ADAL" clId="{41025DA7-181F-491C-9FBD-FBB8E4B572F0}" dt="2023-06-25T05:46:22.876" v="3575" actId="12789"/>
          <ac:spMkLst>
            <pc:docMk/>
            <pc:sldMk cId="2416196287" sldId="262"/>
            <ac:spMk id="51" creationId="{E6D08930-96E7-4CE2-96AD-7011200C2A51}"/>
          </ac:spMkLst>
        </pc:spChg>
        <pc:spChg chg="mod">
          <ac:chgData name="Nguyễn Lê Nhật Trường" userId="b57f1783-2bfa-4d82-93dd-4655ec71c09f" providerId="ADAL" clId="{41025DA7-181F-491C-9FBD-FBB8E4B572F0}" dt="2023-06-25T05:38:25.787" v="3574" actId="14100"/>
          <ac:spMkLst>
            <pc:docMk/>
            <pc:sldMk cId="2416196287" sldId="262"/>
            <ac:spMk id="52" creationId="{1A844FE5-779B-4617-BC0D-1E543716329F}"/>
          </ac:spMkLst>
        </pc:spChg>
      </pc:sldChg>
      <pc:sldChg chg="modSp add del mod">
        <pc:chgData name="Nguyễn Lê Nhật Trường" userId="b57f1783-2bfa-4d82-93dd-4655ec71c09f" providerId="ADAL" clId="{41025DA7-181F-491C-9FBD-FBB8E4B572F0}" dt="2023-06-20T02:11:12.960" v="312" actId="47"/>
        <pc:sldMkLst>
          <pc:docMk/>
          <pc:sldMk cId="3550828590" sldId="263"/>
        </pc:sldMkLst>
        <pc:spChg chg="mod">
          <ac:chgData name="Nguyễn Lê Nhật Trường" userId="b57f1783-2bfa-4d82-93dd-4655ec71c09f" providerId="ADAL" clId="{41025DA7-181F-491C-9FBD-FBB8E4B572F0}" dt="2023-06-20T02:11:10.390" v="311" actId="27636"/>
          <ac:spMkLst>
            <pc:docMk/>
            <pc:sldMk cId="3550828590" sldId="263"/>
            <ac:spMk id="7" creationId="{2D3D8B26-06E9-4C13-B78C-71A1385A0489}"/>
          </ac:spMkLst>
        </pc:spChg>
        <pc:spChg chg="mod">
          <ac:chgData name="Nguyễn Lê Nhật Trường" userId="b57f1783-2bfa-4d82-93dd-4655ec71c09f" providerId="ADAL" clId="{41025DA7-181F-491C-9FBD-FBB8E4B572F0}" dt="2023-06-20T02:11:10.384" v="308" actId="27636"/>
          <ac:spMkLst>
            <pc:docMk/>
            <pc:sldMk cId="3550828590" sldId="263"/>
            <ac:spMk id="8" creationId="{25F5B4B5-477D-4E94-9B40-3BAB12E915CD}"/>
          </ac:spMkLst>
        </pc:spChg>
        <pc:spChg chg="mod">
          <ac:chgData name="Nguyễn Lê Nhật Trường" userId="b57f1783-2bfa-4d82-93dd-4655ec71c09f" providerId="ADAL" clId="{41025DA7-181F-491C-9FBD-FBB8E4B572F0}" dt="2023-06-20T02:11:10.386" v="309" actId="27636"/>
          <ac:spMkLst>
            <pc:docMk/>
            <pc:sldMk cId="3550828590" sldId="263"/>
            <ac:spMk id="9" creationId="{F42F8BBF-E671-448B-B075-A247DA58E801}"/>
          </ac:spMkLst>
        </pc:spChg>
        <pc:spChg chg="mod">
          <ac:chgData name="Nguyễn Lê Nhật Trường" userId="b57f1783-2bfa-4d82-93dd-4655ec71c09f" providerId="ADAL" clId="{41025DA7-181F-491C-9FBD-FBB8E4B572F0}" dt="2023-06-20T02:11:10.388" v="310" actId="27636"/>
          <ac:spMkLst>
            <pc:docMk/>
            <pc:sldMk cId="3550828590" sldId="263"/>
            <ac:spMk id="10" creationId="{DE37A0B7-C50B-44FD-AB47-59DF58765F66}"/>
          </ac:spMkLst>
        </pc:spChg>
        <pc:spChg chg="mod">
          <ac:chgData name="Nguyễn Lê Nhật Trường" userId="b57f1783-2bfa-4d82-93dd-4655ec71c09f" providerId="ADAL" clId="{41025DA7-181F-491C-9FBD-FBB8E4B572F0}" dt="2023-06-20T02:11:10.382" v="307" actId="27636"/>
          <ac:spMkLst>
            <pc:docMk/>
            <pc:sldMk cId="3550828590" sldId="263"/>
            <ac:spMk id="11" creationId="{98E3E49D-0858-4973-9DBB-42775FD70034}"/>
          </ac:spMkLst>
        </pc:spChg>
      </pc:sldChg>
      <pc:sldChg chg="addSp delSp modSp add del mod ord modNotesTx">
        <pc:chgData name="Nguyễn Lê Nhật Trường" userId="b57f1783-2bfa-4d82-93dd-4655ec71c09f" providerId="ADAL" clId="{41025DA7-181F-491C-9FBD-FBB8E4B572F0}" dt="2023-06-24T04:48:56.771" v="558" actId="47"/>
        <pc:sldMkLst>
          <pc:docMk/>
          <pc:sldMk cId="4098051661" sldId="263"/>
        </pc:sldMkLst>
        <pc:spChg chg="mod">
          <ac:chgData name="Nguyễn Lê Nhật Trường" userId="b57f1783-2bfa-4d82-93dd-4655ec71c09f" providerId="ADAL" clId="{41025DA7-181F-491C-9FBD-FBB8E4B572F0}" dt="2023-06-24T02:41:40.152" v="501" actId="20577"/>
          <ac:spMkLst>
            <pc:docMk/>
            <pc:sldMk cId="4098051661" sldId="263"/>
            <ac:spMk id="2" creationId="{4F4E61E0-F34E-4203-90A7-F5F0FE00AD5A}"/>
          </ac:spMkLst>
        </pc:spChg>
        <pc:spChg chg="mod">
          <ac:chgData name="Nguyễn Lê Nhật Trường" userId="b57f1783-2bfa-4d82-93dd-4655ec71c09f" providerId="ADAL" clId="{41025DA7-181F-491C-9FBD-FBB8E4B572F0}" dt="2023-06-24T03:06:27.888" v="537" actId="403"/>
          <ac:spMkLst>
            <pc:docMk/>
            <pc:sldMk cId="4098051661" sldId="263"/>
            <ac:spMk id="3" creationId="{86928F88-9869-406A-A386-D84EB71A8317}"/>
          </ac:spMkLst>
        </pc:spChg>
        <pc:spChg chg="add del mod">
          <ac:chgData name="Nguyễn Lê Nhật Trường" userId="b57f1783-2bfa-4d82-93dd-4655ec71c09f" providerId="ADAL" clId="{41025DA7-181F-491C-9FBD-FBB8E4B572F0}" dt="2023-06-24T02:43:33.761" v="502"/>
          <ac:spMkLst>
            <pc:docMk/>
            <pc:sldMk cId="4098051661" sldId="263"/>
            <ac:spMk id="6" creationId="{232F425F-C5EB-0D00-EEF6-6FDA2701F248}"/>
          </ac:spMkLst>
        </pc:spChg>
        <pc:picChg chg="del">
          <ac:chgData name="Nguyễn Lê Nhật Trường" userId="b57f1783-2bfa-4d82-93dd-4655ec71c09f" providerId="ADAL" clId="{41025DA7-181F-491C-9FBD-FBB8E4B572F0}" dt="2023-06-24T02:41:30.687" v="492" actId="478"/>
          <ac:picMkLst>
            <pc:docMk/>
            <pc:sldMk cId="4098051661" sldId="263"/>
            <ac:picMk id="5" creationId="{833FE526-7F3F-4E0E-A644-206C917FB0B7}"/>
          </ac:picMkLst>
        </pc:picChg>
        <pc:picChg chg="add mod">
          <ac:chgData name="Nguyễn Lê Nhật Trường" userId="b57f1783-2bfa-4d82-93dd-4655ec71c09f" providerId="ADAL" clId="{41025DA7-181F-491C-9FBD-FBB8E4B572F0}" dt="2023-06-24T02:43:53.520" v="507" actId="14100"/>
          <ac:picMkLst>
            <pc:docMk/>
            <pc:sldMk cId="4098051661" sldId="263"/>
            <ac:picMk id="8" creationId="{7374BEB9-5DBE-E30B-7552-0165EF064528}"/>
          </ac:picMkLst>
        </pc:picChg>
      </pc:sldChg>
      <pc:sldChg chg="addSp delSp modSp add mod ord modNotesTx">
        <pc:chgData name="Nguyễn Lê Nhật Trường" userId="b57f1783-2bfa-4d82-93dd-4655ec71c09f" providerId="ADAL" clId="{41025DA7-181F-491C-9FBD-FBB8E4B572F0}" dt="2023-06-26T05:10:39.213" v="5272" actId="20577"/>
        <pc:sldMkLst>
          <pc:docMk/>
          <pc:sldMk cId="3742056944" sldId="264"/>
        </pc:sldMkLst>
        <pc:spChg chg="del">
          <ac:chgData name="Nguyễn Lê Nhật Trường" userId="b57f1783-2bfa-4d82-93dd-4655ec71c09f" providerId="ADAL" clId="{41025DA7-181F-491C-9FBD-FBB8E4B572F0}" dt="2023-06-20T03:17:49.538" v="332" actId="478"/>
          <ac:spMkLst>
            <pc:docMk/>
            <pc:sldMk cId="3742056944" sldId="264"/>
            <ac:spMk id="4" creationId="{E859864F-6A93-45A4-83E7-3FDA9BD07280}"/>
          </ac:spMkLst>
        </pc:spChg>
        <pc:spChg chg="add mod">
          <ac:chgData name="Nguyễn Lê Nhật Trường" userId="b57f1783-2bfa-4d82-93dd-4655ec71c09f" providerId="ADAL" clId="{41025DA7-181F-491C-9FBD-FBB8E4B572F0}" dt="2023-06-20T03:20:19.362" v="359"/>
          <ac:spMkLst>
            <pc:docMk/>
            <pc:sldMk cId="3742056944" sldId="264"/>
            <ac:spMk id="6" creationId="{985B663A-E488-5FA5-A977-63EF5046BB67}"/>
          </ac:spMkLst>
        </pc:spChg>
        <pc:spChg chg="mod">
          <ac:chgData name="Nguyễn Lê Nhật Trường" userId="b57f1783-2bfa-4d82-93dd-4655ec71c09f" providerId="ADAL" clId="{41025DA7-181F-491C-9FBD-FBB8E4B572F0}" dt="2023-06-20T03:22:59.774" v="392" actId="14100"/>
          <ac:spMkLst>
            <pc:docMk/>
            <pc:sldMk cId="3742056944" sldId="264"/>
            <ac:spMk id="8" creationId="{598E6103-3DFF-4B87-B5C7-300316CB1814}"/>
          </ac:spMkLst>
        </pc:spChg>
        <pc:spChg chg="del">
          <ac:chgData name="Nguyễn Lê Nhật Trường" userId="b57f1783-2bfa-4d82-93dd-4655ec71c09f" providerId="ADAL" clId="{41025DA7-181F-491C-9FBD-FBB8E4B572F0}" dt="2023-06-20T03:20:11.550" v="353" actId="478"/>
          <ac:spMkLst>
            <pc:docMk/>
            <pc:sldMk cId="3742056944" sldId="264"/>
            <ac:spMk id="9" creationId="{CFCE863E-1EF5-4195-8A06-62D54D4F7DAE}"/>
          </ac:spMkLst>
        </pc:spChg>
        <pc:spChg chg="del">
          <ac:chgData name="Nguyễn Lê Nhật Trường" userId="b57f1783-2bfa-4d82-93dd-4655ec71c09f" providerId="ADAL" clId="{41025DA7-181F-491C-9FBD-FBB8E4B572F0}" dt="2023-06-20T03:20:11.550" v="353" actId="478"/>
          <ac:spMkLst>
            <pc:docMk/>
            <pc:sldMk cId="3742056944" sldId="264"/>
            <ac:spMk id="10" creationId="{B445F4FC-D77E-43BC-BDDE-614EE80FE36E}"/>
          </ac:spMkLst>
        </pc:spChg>
        <pc:spChg chg="del">
          <ac:chgData name="Nguyễn Lê Nhật Trường" userId="b57f1783-2bfa-4d82-93dd-4655ec71c09f" providerId="ADAL" clId="{41025DA7-181F-491C-9FBD-FBB8E4B572F0}" dt="2023-06-20T03:20:11.550" v="353" actId="478"/>
          <ac:spMkLst>
            <pc:docMk/>
            <pc:sldMk cId="3742056944" sldId="264"/>
            <ac:spMk id="11" creationId="{E65885F9-839B-48EE-A89B-9B66C43FD701}"/>
          </ac:spMkLst>
        </pc:spChg>
        <pc:spChg chg="mod">
          <ac:chgData name="Nguyễn Lê Nhật Trường" userId="b57f1783-2bfa-4d82-93dd-4655ec71c09f" providerId="ADAL" clId="{41025DA7-181F-491C-9FBD-FBB8E4B572F0}" dt="2023-06-20T03:20:19.362" v="359"/>
          <ac:spMkLst>
            <pc:docMk/>
            <pc:sldMk cId="3742056944" sldId="264"/>
            <ac:spMk id="12" creationId="{C9366E01-B12D-AC5F-84A1-7694DF7B64B7}"/>
          </ac:spMkLst>
        </pc:spChg>
        <pc:spChg chg="mod">
          <ac:chgData name="Nguyễn Lê Nhật Trường" userId="b57f1783-2bfa-4d82-93dd-4655ec71c09f" providerId="ADAL" clId="{41025DA7-181F-491C-9FBD-FBB8E4B572F0}" dt="2023-06-20T03:19:38.015" v="347" actId="164"/>
          <ac:spMkLst>
            <pc:docMk/>
            <pc:sldMk cId="3742056944" sldId="264"/>
            <ac:spMk id="13" creationId="{9D57BE4A-5B6A-4752-A75D-1142E779029A}"/>
          </ac:spMkLst>
        </pc:spChg>
        <pc:spChg chg="del">
          <ac:chgData name="Nguyễn Lê Nhật Trường" userId="b57f1783-2bfa-4d82-93dd-4655ec71c09f" providerId="ADAL" clId="{41025DA7-181F-491C-9FBD-FBB8E4B572F0}" dt="2023-06-20T03:20:11.550" v="353" actId="478"/>
          <ac:spMkLst>
            <pc:docMk/>
            <pc:sldMk cId="3742056944" sldId="264"/>
            <ac:spMk id="14" creationId="{A9523653-2943-49BE-B246-FF8D9BC6223A}"/>
          </ac:spMkLst>
        </pc:spChg>
        <pc:spChg chg="del">
          <ac:chgData name="Nguyễn Lê Nhật Trường" userId="b57f1783-2bfa-4d82-93dd-4655ec71c09f" providerId="ADAL" clId="{41025DA7-181F-491C-9FBD-FBB8E4B572F0}" dt="2023-06-20T03:20:11.550" v="353" actId="478"/>
          <ac:spMkLst>
            <pc:docMk/>
            <pc:sldMk cId="3742056944" sldId="264"/>
            <ac:spMk id="15" creationId="{7BDE9CEC-B244-465E-B949-5A35D8CF1DD8}"/>
          </ac:spMkLst>
        </pc:spChg>
        <pc:spChg chg="del">
          <ac:chgData name="Nguyễn Lê Nhật Trường" userId="b57f1783-2bfa-4d82-93dd-4655ec71c09f" providerId="ADAL" clId="{41025DA7-181F-491C-9FBD-FBB8E4B572F0}" dt="2023-06-20T03:20:11.550" v="353" actId="478"/>
          <ac:spMkLst>
            <pc:docMk/>
            <pc:sldMk cId="3742056944" sldId="264"/>
            <ac:spMk id="16" creationId="{A7089438-A4A3-4B9A-B8FF-133B96467D4F}"/>
          </ac:spMkLst>
        </pc:spChg>
        <pc:spChg chg="mod">
          <ac:chgData name="Nguyễn Lê Nhật Trường" userId="b57f1783-2bfa-4d82-93dd-4655ec71c09f" providerId="ADAL" clId="{41025DA7-181F-491C-9FBD-FBB8E4B572F0}" dt="2023-06-20T03:20:19.362" v="359"/>
          <ac:spMkLst>
            <pc:docMk/>
            <pc:sldMk cId="3742056944" sldId="264"/>
            <ac:spMk id="17" creationId="{8CF14B92-85D3-6514-0780-DB4A7E534DC1}"/>
          </ac:spMkLst>
        </pc:spChg>
        <pc:spChg chg="add mod">
          <ac:chgData name="Nguyễn Lê Nhật Trường" userId="b57f1783-2bfa-4d82-93dd-4655ec71c09f" providerId="ADAL" clId="{41025DA7-181F-491C-9FBD-FBB8E4B572F0}" dt="2023-06-20T03:20:18.942" v="358"/>
          <ac:spMkLst>
            <pc:docMk/>
            <pc:sldMk cId="3742056944" sldId="264"/>
            <ac:spMk id="18" creationId="{DADC1063-4016-3F4F-2A9D-35C86426B50E}"/>
          </ac:spMkLst>
        </pc:spChg>
        <pc:spChg chg="mod">
          <ac:chgData name="Nguyễn Lê Nhật Trường" userId="b57f1783-2bfa-4d82-93dd-4655ec71c09f" providerId="ADAL" clId="{41025DA7-181F-491C-9FBD-FBB8E4B572F0}" dt="2023-06-20T03:20:18.942" v="358"/>
          <ac:spMkLst>
            <pc:docMk/>
            <pc:sldMk cId="3742056944" sldId="264"/>
            <ac:spMk id="20" creationId="{401A4607-6C3B-EA28-3959-2A65F83F0D29}"/>
          </ac:spMkLst>
        </pc:spChg>
        <pc:spChg chg="mod">
          <ac:chgData name="Nguyễn Lê Nhật Trường" userId="b57f1783-2bfa-4d82-93dd-4655ec71c09f" providerId="ADAL" clId="{41025DA7-181F-491C-9FBD-FBB8E4B572F0}" dt="2023-06-20T03:20:18.942" v="358"/>
          <ac:spMkLst>
            <pc:docMk/>
            <pc:sldMk cId="3742056944" sldId="264"/>
            <ac:spMk id="21" creationId="{7DCDFAE3-1A72-155A-D7BA-D5EF9788589D}"/>
          </ac:spMkLst>
        </pc:spChg>
        <pc:spChg chg="add mod">
          <ac:chgData name="Nguyễn Lê Nhật Trường" userId="b57f1783-2bfa-4d82-93dd-4655ec71c09f" providerId="ADAL" clId="{41025DA7-181F-491C-9FBD-FBB8E4B572F0}" dt="2023-06-20T03:20:18.663" v="357"/>
          <ac:spMkLst>
            <pc:docMk/>
            <pc:sldMk cId="3742056944" sldId="264"/>
            <ac:spMk id="22" creationId="{384558CF-DA1B-B320-251D-F48BD6315BE4}"/>
          </ac:spMkLst>
        </pc:spChg>
        <pc:spChg chg="mod">
          <ac:chgData name="Nguyễn Lê Nhật Trường" userId="b57f1783-2bfa-4d82-93dd-4655ec71c09f" providerId="ADAL" clId="{41025DA7-181F-491C-9FBD-FBB8E4B572F0}" dt="2023-06-20T03:19:38.015" v="347" actId="164"/>
          <ac:spMkLst>
            <pc:docMk/>
            <pc:sldMk cId="3742056944" sldId="264"/>
            <ac:spMk id="24" creationId="{2454E598-343F-41EB-AE9A-F24DF23669D2}"/>
          </ac:spMkLst>
        </pc:spChg>
        <pc:spChg chg="mod">
          <ac:chgData name="Nguyễn Lê Nhật Trường" userId="b57f1783-2bfa-4d82-93dd-4655ec71c09f" providerId="ADAL" clId="{41025DA7-181F-491C-9FBD-FBB8E4B572F0}" dt="2023-06-20T03:20:18.663" v="357"/>
          <ac:spMkLst>
            <pc:docMk/>
            <pc:sldMk cId="3742056944" sldId="264"/>
            <ac:spMk id="25" creationId="{76AC51D2-F4FF-1089-02BB-AAADFE2EC7F4}"/>
          </ac:spMkLst>
        </pc:spChg>
        <pc:spChg chg="mod">
          <ac:chgData name="Nguyễn Lê Nhật Trường" userId="b57f1783-2bfa-4d82-93dd-4655ec71c09f" providerId="ADAL" clId="{41025DA7-181F-491C-9FBD-FBB8E4B572F0}" dt="2023-06-20T03:20:18.663" v="357"/>
          <ac:spMkLst>
            <pc:docMk/>
            <pc:sldMk cId="3742056944" sldId="264"/>
            <ac:spMk id="26" creationId="{C489D7DE-7F4D-73A6-7365-D1E39CB44EB0}"/>
          </ac:spMkLst>
        </pc:spChg>
        <pc:spChg chg="del">
          <ac:chgData name="Nguyễn Lê Nhật Trường" userId="b57f1783-2bfa-4d82-93dd-4655ec71c09f" providerId="ADAL" clId="{41025DA7-181F-491C-9FBD-FBB8E4B572F0}" dt="2023-06-20T03:20:11.550" v="353" actId="478"/>
          <ac:spMkLst>
            <pc:docMk/>
            <pc:sldMk cId="3742056944" sldId="264"/>
            <ac:spMk id="27" creationId="{1C6F3E7B-9EA1-4FD4-9279-CF5E9BFD071C}"/>
          </ac:spMkLst>
        </pc:spChg>
        <pc:spChg chg="add del mod ord">
          <ac:chgData name="Nguyễn Lê Nhật Trường" userId="b57f1783-2bfa-4d82-93dd-4655ec71c09f" providerId="ADAL" clId="{41025DA7-181F-491C-9FBD-FBB8E4B572F0}" dt="2023-06-20T03:23:35.188" v="393" actId="478"/>
          <ac:spMkLst>
            <pc:docMk/>
            <pc:sldMk cId="3742056944" sldId="264"/>
            <ac:spMk id="28" creationId="{02E9D41D-4599-055D-F0C2-6F9C45ED0885}"/>
          </ac:spMkLst>
        </pc:spChg>
        <pc:spChg chg="del">
          <ac:chgData name="Nguyễn Lê Nhật Trường" userId="b57f1783-2bfa-4d82-93dd-4655ec71c09f" providerId="ADAL" clId="{41025DA7-181F-491C-9FBD-FBB8E4B572F0}" dt="2023-06-20T03:20:11.550" v="353" actId="478"/>
          <ac:spMkLst>
            <pc:docMk/>
            <pc:sldMk cId="3742056944" sldId="264"/>
            <ac:spMk id="30" creationId="{EE675CAA-0231-4091-B680-9A8E1406B334}"/>
          </ac:spMkLst>
        </pc:spChg>
        <pc:spChg chg="del mod ord topLvl">
          <ac:chgData name="Nguyễn Lê Nhật Trường" userId="b57f1783-2bfa-4d82-93dd-4655ec71c09f" providerId="ADAL" clId="{41025DA7-181F-491C-9FBD-FBB8E4B572F0}" dt="2023-06-20T03:23:35.188" v="393" actId="478"/>
          <ac:spMkLst>
            <pc:docMk/>
            <pc:sldMk cId="3742056944" sldId="264"/>
            <ac:spMk id="31" creationId="{BCF3B3FA-B492-13F5-7036-A47D4AE6D6C0}"/>
          </ac:spMkLst>
        </pc:spChg>
        <pc:spChg chg="del mod topLvl">
          <ac:chgData name="Nguyễn Lê Nhật Trường" userId="b57f1783-2bfa-4d82-93dd-4655ec71c09f" providerId="ADAL" clId="{41025DA7-181F-491C-9FBD-FBB8E4B572F0}" dt="2023-06-20T03:23:35.188" v="393" actId="478"/>
          <ac:spMkLst>
            <pc:docMk/>
            <pc:sldMk cId="3742056944" sldId="264"/>
            <ac:spMk id="32" creationId="{8DB17212-66AA-6EA7-4F94-0FF1F390049C}"/>
          </ac:spMkLst>
        </pc:spChg>
        <pc:spChg chg="del">
          <ac:chgData name="Nguyễn Lê Nhật Trường" userId="b57f1783-2bfa-4d82-93dd-4655ec71c09f" providerId="ADAL" clId="{41025DA7-181F-491C-9FBD-FBB8E4B572F0}" dt="2023-06-20T03:20:11.550" v="353" actId="478"/>
          <ac:spMkLst>
            <pc:docMk/>
            <pc:sldMk cId="3742056944" sldId="264"/>
            <ac:spMk id="33" creationId="{1F3B0017-E5A8-4324-AFC4-DD897807E72D}"/>
          </ac:spMkLst>
        </pc:spChg>
        <pc:spChg chg="add del mod">
          <ac:chgData name="Nguyễn Lê Nhật Trường" userId="b57f1783-2bfa-4d82-93dd-4655ec71c09f" providerId="ADAL" clId="{41025DA7-181F-491C-9FBD-FBB8E4B572F0}" dt="2023-06-20T03:21:40.830" v="371" actId="478"/>
          <ac:spMkLst>
            <pc:docMk/>
            <pc:sldMk cId="3742056944" sldId="264"/>
            <ac:spMk id="34" creationId="{670ACDB1-1075-313C-CD11-1079EC5AA524}"/>
          </ac:spMkLst>
        </pc:spChg>
        <pc:spChg chg="del mod topLvl">
          <ac:chgData name="Nguyễn Lê Nhật Trường" userId="b57f1783-2bfa-4d82-93dd-4655ec71c09f" providerId="ADAL" clId="{41025DA7-181F-491C-9FBD-FBB8E4B572F0}" dt="2023-06-20T03:21:40.830" v="371" actId="478"/>
          <ac:spMkLst>
            <pc:docMk/>
            <pc:sldMk cId="3742056944" sldId="264"/>
            <ac:spMk id="36" creationId="{2BD1EF09-AA37-E285-0E13-15F76998A4B7}"/>
          </ac:spMkLst>
        </pc:spChg>
        <pc:spChg chg="del mod topLvl">
          <ac:chgData name="Nguyễn Lê Nhật Trường" userId="b57f1783-2bfa-4d82-93dd-4655ec71c09f" providerId="ADAL" clId="{41025DA7-181F-491C-9FBD-FBB8E4B572F0}" dt="2023-06-20T03:21:40.830" v="371" actId="478"/>
          <ac:spMkLst>
            <pc:docMk/>
            <pc:sldMk cId="3742056944" sldId="264"/>
            <ac:spMk id="37" creationId="{69C6E842-7815-E1AF-D7A2-9BC3986931E4}"/>
          </ac:spMkLst>
        </pc:spChg>
        <pc:spChg chg="add del mod">
          <ac:chgData name="Nguyễn Lê Nhật Trường" userId="b57f1783-2bfa-4d82-93dd-4655ec71c09f" providerId="ADAL" clId="{41025DA7-181F-491C-9FBD-FBB8E4B572F0}" dt="2023-06-20T03:21:40.830" v="371" actId="478"/>
          <ac:spMkLst>
            <pc:docMk/>
            <pc:sldMk cId="3742056944" sldId="264"/>
            <ac:spMk id="38" creationId="{34467774-599A-2E70-301D-CAA9478F7C01}"/>
          </ac:spMkLst>
        </pc:spChg>
        <pc:spChg chg="del mod topLvl">
          <ac:chgData name="Nguyễn Lê Nhật Trường" userId="b57f1783-2bfa-4d82-93dd-4655ec71c09f" providerId="ADAL" clId="{41025DA7-181F-491C-9FBD-FBB8E4B572F0}" dt="2023-06-20T03:21:40.830" v="371" actId="478"/>
          <ac:spMkLst>
            <pc:docMk/>
            <pc:sldMk cId="3742056944" sldId="264"/>
            <ac:spMk id="40" creationId="{2D18673A-F67A-A54D-A9A5-8C7AD8F288DF}"/>
          </ac:spMkLst>
        </pc:spChg>
        <pc:spChg chg="del mod topLvl">
          <ac:chgData name="Nguyễn Lê Nhật Trường" userId="b57f1783-2bfa-4d82-93dd-4655ec71c09f" providerId="ADAL" clId="{41025DA7-181F-491C-9FBD-FBB8E4B572F0}" dt="2023-06-20T03:21:40.830" v="371" actId="478"/>
          <ac:spMkLst>
            <pc:docMk/>
            <pc:sldMk cId="3742056944" sldId="264"/>
            <ac:spMk id="41" creationId="{D8F16BE2-07DD-641C-5DC0-2DEF1F4129C8}"/>
          </ac:spMkLst>
        </pc:spChg>
        <pc:spChg chg="add del mod">
          <ac:chgData name="Nguyễn Lê Nhật Trường" userId="b57f1783-2bfa-4d82-93dd-4655ec71c09f" providerId="ADAL" clId="{41025DA7-181F-491C-9FBD-FBB8E4B572F0}" dt="2023-06-20T03:21:40.830" v="371" actId="478"/>
          <ac:spMkLst>
            <pc:docMk/>
            <pc:sldMk cId="3742056944" sldId="264"/>
            <ac:spMk id="42" creationId="{0087EF1F-6A5D-D481-D686-D208A286073C}"/>
          </ac:spMkLst>
        </pc:spChg>
        <pc:spChg chg="del mod topLvl">
          <ac:chgData name="Nguyễn Lê Nhật Trường" userId="b57f1783-2bfa-4d82-93dd-4655ec71c09f" providerId="ADAL" clId="{41025DA7-181F-491C-9FBD-FBB8E4B572F0}" dt="2023-06-20T03:21:40.830" v="371" actId="478"/>
          <ac:spMkLst>
            <pc:docMk/>
            <pc:sldMk cId="3742056944" sldId="264"/>
            <ac:spMk id="44" creationId="{24FC4CCE-2682-620F-2481-044332F740D9}"/>
          </ac:spMkLst>
        </pc:spChg>
        <pc:spChg chg="del mod topLvl">
          <ac:chgData name="Nguyễn Lê Nhật Trường" userId="b57f1783-2bfa-4d82-93dd-4655ec71c09f" providerId="ADAL" clId="{41025DA7-181F-491C-9FBD-FBB8E4B572F0}" dt="2023-06-20T03:21:40.830" v="371" actId="478"/>
          <ac:spMkLst>
            <pc:docMk/>
            <pc:sldMk cId="3742056944" sldId="264"/>
            <ac:spMk id="45" creationId="{82EA1480-AF76-585F-42B8-3DB9FFFD0AEA}"/>
          </ac:spMkLst>
        </pc:spChg>
        <pc:spChg chg="add del mod">
          <ac:chgData name="Nguyễn Lê Nhật Trường" userId="b57f1783-2bfa-4d82-93dd-4655ec71c09f" providerId="ADAL" clId="{41025DA7-181F-491C-9FBD-FBB8E4B572F0}" dt="2023-06-20T03:23:35.188" v="393" actId="478"/>
          <ac:spMkLst>
            <pc:docMk/>
            <pc:sldMk cId="3742056944" sldId="264"/>
            <ac:spMk id="46" creationId="{1FA9EEC7-8A57-ADED-C3DD-F044D548424D}"/>
          </ac:spMkLst>
        </pc:spChg>
        <pc:spChg chg="add del mod">
          <ac:chgData name="Nguyễn Lê Nhật Trường" userId="b57f1783-2bfa-4d82-93dd-4655ec71c09f" providerId="ADAL" clId="{41025DA7-181F-491C-9FBD-FBB8E4B572F0}" dt="2023-06-20T03:23:35.188" v="393" actId="478"/>
          <ac:spMkLst>
            <pc:docMk/>
            <pc:sldMk cId="3742056944" sldId="264"/>
            <ac:spMk id="47" creationId="{60D8AB0A-B1F0-96FD-5C0B-131DF0188C0C}"/>
          </ac:spMkLst>
        </pc:spChg>
        <pc:spChg chg="add del mod">
          <ac:chgData name="Nguyễn Lê Nhật Trường" userId="b57f1783-2bfa-4d82-93dd-4655ec71c09f" providerId="ADAL" clId="{41025DA7-181F-491C-9FBD-FBB8E4B572F0}" dt="2023-06-20T03:23:35.188" v="393" actId="478"/>
          <ac:spMkLst>
            <pc:docMk/>
            <pc:sldMk cId="3742056944" sldId="264"/>
            <ac:spMk id="48" creationId="{96851ACE-3E8F-FD70-F4BE-D90C0D74FD7E}"/>
          </ac:spMkLst>
        </pc:spChg>
        <pc:spChg chg="add del mod">
          <ac:chgData name="Nguyễn Lê Nhật Trường" userId="b57f1783-2bfa-4d82-93dd-4655ec71c09f" providerId="ADAL" clId="{41025DA7-181F-491C-9FBD-FBB8E4B572F0}" dt="2023-06-20T03:23:35.188" v="393" actId="478"/>
          <ac:spMkLst>
            <pc:docMk/>
            <pc:sldMk cId="3742056944" sldId="264"/>
            <ac:spMk id="49" creationId="{6556D6B0-4DD8-3B91-C9AC-41C2DC002557}"/>
          </ac:spMkLst>
        </pc:spChg>
        <pc:spChg chg="add del mod">
          <ac:chgData name="Nguyễn Lê Nhật Trường" userId="b57f1783-2bfa-4d82-93dd-4655ec71c09f" providerId="ADAL" clId="{41025DA7-181F-491C-9FBD-FBB8E4B572F0}" dt="2023-06-20T03:23:35.188" v="393" actId="478"/>
          <ac:spMkLst>
            <pc:docMk/>
            <pc:sldMk cId="3742056944" sldId="264"/>
            <ac:spMk id="50" creationId="{547B4926-F53C-2651-8E25-19FE1BC484FB}"/>
          </ac:spMkLst>
        </pc:spChg>
        <pc:spChg chg="add del mod">
          <ac:chgData name="Nguyễn Lê Nhật Trường" userId="b57f1783-2bfa-4d82-93dd-4655ec71c09f" providerId="ADAL" clId="{41025DA7-181F-491C-9FBD-FBB8E4B572F0}" dt="2023-06-20T03:23:35.188" v="393" actId="478"/>
          <ac:spMkLst>
            <pc:docMk/>
            <pc:sldMk cId="3742056944" sldId="264"/>
            <ac:spMk id="51" creationId="{7C534026-5C71-4278-A382-4DCF368A9D5F}"/>
          </ac:spMkLst>
        </pc:spChg>
        <pc:spChg chg="add del mod">
          <ac:chgData name="Nguyễn Lê Nhật Trường" userId="b57f1783-2bfa-4d82-93dd-4655ec71c09f" providerId="ADAL" clId="{41025DA7-181F-491C-9FBD-FBB8E4B572F0}" dt="2023-06-20T03:23:35.188" v="393" actId="478"/>
          <ac:spMkLst>
            <pc:docMk/>
            <pc:sldMk cId="3742056944" sldId="264"/>
            <ac:spMk id="52" creationId="{644A0239-26F7-7779-E753-25A1A023B645}"/>
          </ac:spMkLst>
        </pc:spChg>
        <pc:spChg chg="add del mod">
          <ac:chgData name="Nguyễn Lê Nhật Trường" userId="b57f1783-2bfa-4d82-93dd-4655ec71c09f" providerId="ADAL" clId="{41025DA7-181F-491C-9FBD-FBB8E4B572F0}" dt="2023-06-20T03:23:35.188" v="393" actId="478"/>
          <ac:spMkLst>
            <pc:docMk/>
            <pc:sldMk cId="3742056944" sldId="264"/>
            <ac:spMk id="53" creationId="{43ABEEA8-C382-F71C-AE6E-B6A691117209}"/>
          </ac:spMkLst>
        </pc:spChg>
        <pc:spChg chg="add del mod">
          <ac:chgData name="Nguyễn Lê Nhật Trường" userId="b57f1783-2bfa-4d82-93dd-4655ec71c09f" providerId="ADAL" clId="{41025DA7-181F-491C-9FBD-FBB8E4B572F0}" dt="2023-06-20T03:23:35.188" v="393" actId="478"/>
          <ac:spMkLst>
            <pc:docMk/>
            <pc:sldMk cId="3742056944" sldId="264"/>
            <ac:spMk id="54" creationId="{B71EC1DF-384F-2CE3-B42B-A67BCAC56648}"/>
          </ac:spMkLst>
        </pc:spChg>
        <pc:spChg chg="add mod">
          <ac:chgData name="Nguyễn Lê Nhật Trường" userId="b57f1783-2bfa-4d82-93dd-4655ec71c09f" providerId="ADAL" clId="{41025DA7-181F-491C-9FBD-FBB8E4B572F0}" dt="2023-06-20T03:24:51.758" v="409"/>
          <ac:spMkLst>
            <pc:docMk/>
            <pc:sldMk cId="3742056944" sldId="264"/>
            <ac:spMk id="55" creationId="{6F4F90CC-D6D0-478E-A1B4-7C73E42248DB}"/>
          </ac:spMkLst>
        </pc:spChg>
        <pc:spChg chg="add del mod topLvl">
          <ac:chgData name="Nguyễn Lê Nhật Trường" userId="b57f1783-2bfa-4d82-93dd-4655ec71c09f" providerId="ADAL" clId="{41025DA7-181F-491C-9FBD-FBB8E4B572F0}" dt="2023-06-20T03:29:36.860" v="450" actId="12789"/>
          <ac:spMkLst>
            <pc:docMk/>
            <pc:sldMk cId="3742056944" sldId="264"/>
            <ac:spMk id="57" creationId="{A4320068-0C27-C478-1818-659D6E54ABB3}"/>
          </ac:spMkLst>
        </pc:spChg>
        <pc:spChg chg="del mod topLvl">
          <ac:chgData name="Nguyễn Lê Nhật Trường" userId="b57f1783-2bfa-4d82-93dd-4655ec71c09f" providerId="ADAL" clId="{41025DA7-181F-491C-9FBD-FBB8E4B572F0}" dt="2023-06-20T03:29:17.848" v="445" actId="478"/>
          <ac:spMkLst>
            <pc:docMk/>
            <pc:sldMk cId="3742056944" sldId="264"/>
            <ac:spMk id="58" creationId="{77654B3B-BB8F-A4FC-5B2B-4D85BE17DEA0}"/>
          </ac:spMkLst>
        </pc:spChg>
        <pc:spChg chg="add mod">
          <ac:chgData name="Nguyễn Lê Nhật Trường" userId="b57f1783-2bfa-4d82-93dd-4655ec71c09f" providerId="ADAL" clId="{41025DA7-181F-491C-9FBD-FBB8E4B572F0}" dt="2023-06-20T03:23:46.904" v="396" actId="571"/>
          <ac:spMkLst>
            <pc:docMk/>
            <pc:sldMk cId="3742056944" sldId="264"/>
            <ac:spMk id="59" creationId="{1AAF4F09-32EC-5B19-1E64-7D8131E1C719}"/>
          </ac:spMkLst>
        </pc:spChg>
        <pc:spChg chg="mod">
          <ac:chgData name="Nguyễn Lê Nhật Trường" userId="b57f1783-2bfa-4d82-93dd-4655ec71c09f" providerId="ADAL" clId="{41025DA7-181F-491C-9FBD-FBB8E4B572F0}" dt="2023-06-20T03:23:46.904" v="396" actId="571"/>
          <ac:spMkLst>
            <pc:docMk/>
            <pc:sldMk cId="3742056944" sldId="264"/>
            <ac:spMk id="61" creationId="{41E48367-9C66-0013-7626-155F21CFE438}"/>
          </ac:spMkLst>
        </pc:spChg>
        <pc:spChg chg="mod">
          <ac:chgData name="Nguyễn Lê Nhật Trường" userId="b57f1783-2bfa-4d82-93dd-4655ec71c09f" providerId="ADAL" clId="{41025DA7-181F-491C-9FBD-FBB8E4B572F0}" dt="2023-06-20T03:23:46.904" v="396" actId="571"/>
          <ac:spMkLst>
            <pc:docMk/>
            <pc:sldMk cId="3742056944" sldId="264"/>
            <ac:spMk id="62" creationId="{EFD1D65C-F68B-A6CC-D8E7-FDA853DA22BC}"/>
          </ac:spMkLst>
        </pc:spChg>
        <pc:spChg chg="add mod">
          <ac:chgData name="Nguyễn Lê Nhật Trường" userId="b57f1783-2bfa-4d82-93dd-4655ec71c09f" providerId="ADAL" clId="{41025DA7-181F-491C-9FBD-FBB8E4B572F0}" dt="2023-06-20T03:24:21.503" v="402" actId="571"/>
          <ac:spMkLst>
            <pc:docMk/>
            <pc:sldMk cId="3742056944" sldId="264"/>
            <ac:spMk id="63" creationId="{B9F2DAEA-92EB-14B0-CEB1-AB68490D426C}"/>
          </ac:spMkLst>
        </pc:spChg>
        <pc:spChg chg="add mod">
          <ac:chgData name="Nguyễn Lê Nhật Trường" userId="b57f1783-2bfa-4d82-93dd-4655ec71c09f" providerId="ADAL" clId="{41025DA7-181F-491C-9FBD-FBB8E4B572F0}" dt="2023-06-20T03:24:21.149" v="401" actId="571"/>
          <ac:spMkLst>
            <pc:docMk/>
            <pc:sldMk cId="3742056944" sldId="264"/>
            <ac:spMk id="64" creationId="{FC4FF220-C881-27DC-7223-CE8FE92AED47}"/>
          </ac:spMkLst>
        </pc:spChg>
        <pc:spChg chg="add mod">
          <ac:chgData name="Nguyễn Lê Nhật Trường" userId="b57f1783-2bfa-4d82-93dd-4655ec71c09f" providerId="ADAL" clId="{41025DA7-181F-491C-9FBD-FBB8E4B572F0}" dt="2023-06-20T03:25:00.657" v="412"/>
          <ac:spMkLst>
            <pc:docMk/>
            <pc:sldMk cId="3742056944" sldId="264"/>
            <ac:spMk id="65" creationId="{4DF64A59-F14B-6897-5DA8-4518E033B3A1}"/>
          </ac:spMkLst>
        </pc:spChg>
        <pc:spChg chg="mod topLvl">
          <ac:chgData name="Nguyễn Lê Nhật Trường" userId="b57f1783-2bfa-4d82-93dd-4655ec71c09f" providerId="ADAL" clId="{41025DA7-181F-491C-9FBD-FBB8E4B572F0}" dt="2023-06-20T03:27:58.075" v="440" actId="12789"/>
          <ac:spMkLst>
            <pc:docMk/>
            <pc:sldMk cId="3742056944" sldId="264"/>
            <ac:spMk id="67" creationId="{32E4ECB2-EF44-3F75-2577-EA5AF77003E1}"/>
          </ac:spMkLst>
        </pc:spChg>
        <pc:spChg chg="del mod topLvl">
          <ac:chgData name="Nguyễn Lê Nhật Trường" userId="b57f1783-2bfa-4d82-93dd-4655ec71c09f" providerId="ADAL" clId="{41025DA7-181F-491C-9FBD-FBB8E4B572F0}" dt="2023-06-20T03:27:41.932" v="436" actId="478"/>
          <ac:spMkLst>
            <pc:docMk/>
            <pc:sldMk cId="3742056944" sldId="264"/>
            <ac:spMk id="68" creationId="{9D89CD15-5476-5F91-62A6-7E7DC495BAF8}"/>
          </ac:spMkLst>
        </pc:spChg>
        <pc:spChg chg="add mod">
          <ac:chgData name="Nguyễn Lê Nhật Trường" userId="b57f1783-2bfa-4d82-93dd-4655ec71c09f" providerId="ADAL" clId="{41025DA7-181F-491C-9FBD-FBB8E4B572F0}" dt="2023-06-20T03:25:08.123" v="415"/>
          <ac:spMkLst>
            <pc:docMk/>
            <pc:sldMk cId="3742056944" sldId="264"/>
            <ac:spMk id="69" creationId="{FE52C954-768F-3FCA-7622-C82F5057646A}"/>
          </ac:spMkLst>
        </pc:spChg>
        <pc:spChg chg="mod topLvl">
          <ac:chgData name="Nguyễn Lê Nhật Trường" userId="b57f1783-2bfa-4d82-93dd-4655ec71c09f" providerId="ADAL" clId="{41025DA7-181F-491C-9FBD-FBB8E4B572F0}" dt="2023-06-20T03:31:12.651" v="458" actId="12789"/>
          <ac:spMkLst>
            <pc:docMk/>
            <pc:sldMk cId="3742056944" sldId="264"/>
            <ac:spMk id="71" creationId="{6EB4E7E0-3C85-1975-BB96-8679FE863E33}"/>
          </ac:spMkLst>
        </pc:spChg>
        <pc:spChg chg="del mod topLvl">
          <ac:chgData name="Nguyễn Lê Nhật Trường" userId="b57f1783-2bfa-4d82-93dd-4655ec71c09f" providerId="ADAL" clId="{41025DA7-181F-491C-9FBD-FBB8E4B572F0}" dt="2023-06-20T03:29:49.948" v="452" actId="478"/>
          <ac:spMkLst>
            <pc:docMk/>
            <pc:sldMk cId="3742056944" sldId="264"/>
            <ac:spMk id="72" creationId="{D5828A89-D12A-B744-D5B5-F12EDB29DE50}"/>
          </ac:spMkLst>
        </pc:spChg>
        <pc:spChg chg="add mod">
          <ac:chgData name="Nguyễn Lê Nhật Trường" userId="b57f1783-2bfa-4d82-93dd-4655ec71c09f" providerId="ADAL" clId="{41025DA7-181F-491C-9FBD-FBB8E4B572F0}" dt="2023-06-20T03:25:15.069" v="419" actId="20577"/>
          <ac:spMkLst>
            <pc:docMk/>
            <pc:sldMk cId="3742056944" sldId="264"/>
            <ac:spMk id="73" creationId="{A0DF5099-3F9D-FD74-E8AC-C3C8489FECAD}"/>
          </ac:spMkLst>
        </pc:spChg>
        <pc:spChg chg="mod topLvl">
          <ac:chgData name="Nguyễn Lê Nhật Trường" userId="b57f1783-2bfa-4d82-93dd-4655ec71c09f" providerId="ADAL" clId="{41025DA7-181F-491C-9FBD-FBB8E4B572F0}" dt="2023-06-20T03:32:34.490" v="467" actId="12789"/>
          <ac:spMkLst>
            <pc:docMk/>
            <pc:sldMk cId="3742056944" sldId="264"/>
            <ac:spMk id="75" creationId="{C4A0805E-7274-BF67-74AF-E5037B91C888}"/>
          </ac:spMkLst>
        </pc:spChg>
        <pc:spChg chg="del mod topLvl">
          <ac:chgData name="Nguyễn Lê Nhật Trường" userId="b57f1783-2bfa-4d82-93dd-4655ec71c09f" providerId="ADAL" clId="{41025DA7-181F-491C-9FBD-FBB8E4B572F0}" dt="2023-06-20T03:31:30.517" v="460" actId="478"/>
          <ac:spMkLst>
            <pc:docMk/>
            <pc:sldMk cId="3742056944" sldId="264"/>
            <ac:spMk id="76" creationId="{9DECCC74-9BF1-54EE-7B4D-5075B96B8E0C}"/>
          </ac:spMkLst>
        </pc:spChg>
        <pc:spChg chg="add mod">
          <ac:chgData name="Nguyễn Lê Nhật Trường" userId="b57f1783-2bfa-4d82-93dd-4655ec71c09f" providerId="ADAL" clId="{41025DA7-181F-491C-9FBD-FBB8E4B572F0}" dt="2023-06-20T03:25:28.016" v="422"/>
          <ac:spMkLst>
            <pc:docMk/>
            <pc:sldMk cId="3742056944" sldId="264"/>
            <ac:spMk id="77" creationId="{1C8CEF69-E7A2-2D0D-33AB-7E2E99D02DD6}"/>
          </ac:spMkLst>
        </pc:spChg>
        <pc:spChg chg="mod topLvl">
          <ac:chgData name="Nguyễn Lê Nhật Trường" userId="b57f1783-2bfa-4d82-93dd-4655ec71c09f" providerId="ADAL" clId="{41025DA7-181F-491C-9FBD-FBB8E4B572F0}" dt="2023-06-20T03:35:37.587" v="476" actId="12789"/>
          <ac:spMkLst>
            <pc:docMk/>
            <pc:sldMk cId="3742056944" sldId="264"/>
            <ac:spMk id="79" creationId="{F2ED4571-F02C-1835-A1E6-C3F83E39CEB0}"/>
          </ac:spMkLst>
        </pc:spChg>
        <pc:spChg chg="del mod topLvl">
          <ac:chgData name="Nguyễn Lê Nhật Trường" userId="b57f1783-2bfa-4d82-93dd-4655ec71c09f" providerId="ADAL" clId="{41025DA7-181F-491C-9FBD-FBB8E4B572F0}" dt="2023-06-20T03:32:45.734" v="469" actId="478"/>
          <ac:spMkLst>
            <pc:docMk/>
            <pc:sldMk cId="3742056944" sldId="264"/>
            <ac:spMk id="80" creationId="{0C3B5D19-E7F2-1AC7-210B-8572DDAFCBA0}"/>
          </ac:spMkLst>
        </pc:spChg>
        <pc:grpChg chg="add mod">
          <ac:chgData name="Nguyễn Lê Nhật Trường" userId="b57f1783-2bfa-4d82-93dd-4655ec71c09f" providerId="ADAL" clId="{41025DA7-181F-491C-9FBD-FBB8E4B572F0}" dt="2023-06-20T03:22:51.895" v="390" actId="14100"/>
          <ac:grpSpMkLst>
            <pc:docMk/>
            <pc:sldMk cId="3742056944" sldId="264"/>
            <ac:grpSpMk id="5" creationId="{9BA362C0-A8D7-1A2A-77C8-9B17148C7465}"/>
          </ac:grpSpMkLst>
        </pc:grpChg>
        <pc:grpChg chg="add mod">
          <ac:chgData name="Nguyễn Lê Nhật Trường" userId="b57f1783-2bfa-4d82-93dd-4655ec71c09f" providerId="ADAL" clId="{41025DA7-181F-491C-9FBD-FBB8E4B572F0}" dt="2023-06-20T03:20:19.362" v="359"/>
          <ac:grpSpMkLst>
            <pc:docMk/>
            <pc:sldMk cId="3742056944" sldId="264"/>
            <ac:grpSpMk id="7" creationId="{A6BA8053-504C-CF86-DD8A-7A5CF22F273F}"/>
          </ac:grpSpMkLst>
        </pc:grpChg>
        <pc:grpChg chg="add mod">
          <ac:chgData name="Nguyễn Lê Nhật Trường" userId="b57f1783-2bfa-4d82-93dd-4655ec71c09f" providerId="ADAL" clId="{41025DA7-181F-491C-9FBD-FBB8E4B572F0}" dt="2023-06-20T03:20:18.942" v="358"/>
          <ac:grpSpMkLst>
            <pc:docMk/>
            <pc:sldMk cId="3742056944" sldId="264"/>
            <ac:grpSpMk id="19" creationId="{8333D393-8332-E79F-E46C-040D2725C8BD}"/>
          </ac:grpSpMkLst>
        </pc:grpChg>
        <pc:grpChg chg="add mod">
          <ac:chgData name="Nguyễn Lê Nhật Trường" userId="b57f1783-2bfa-4d82-93dd-4655ec71c09f" providerId="ADAL" clId="{41025DA7-181F-491C-9FBD-FBB8E4B572F0}" dt="2023-06-20T03:20:18.663" v="357"/>
          <ac:grpSpMkLst>
            <pc:docMk/>
            <pc:sldMk cId="3742056944" sldId="264"/>
            <ac:grpSpMk id="23" creationId="{9990A3F2-BE23-994F-283B-6F2D63FC9284}"/>
          </ac:grpSpMkLst>
        </pc:grpChg>
        <pc:grpChg chg="add del mod">
          <ac:chgData name="Nguyễn Lê Nhật Trường" userId="b57f1783-2bfa-4d82-93dd-4655ec71c09f" providerId="ADAL" clId="{41025DA7-181F-491C-9FBD-FBB8E4B572F0}" dt="2023-06-20T03:20:59.174" v="366" actId="165"/>
          <ac:grpSpMkLst>
            <pc:docMk/>
            <pc:sldMk cId="3742056944" sldId="264"/>
            <ac:grpSpMk id="29" creationId="{27518FEC-2143-AF1B-AEA6-CF577FE041FF}"/>
          </ac:grpSpMkLst>
        </pc:grpChg>
        <pc:grpChg chg="add del mod">
          <ac:chgData name="Nguyễn Lê Nhật Trường" userId="b57f1783-2bfa-4d82-93dd-4655ec71c09f" providerId="ADAL" clId="{41025DA7-181F-491C-9FBD-FBB8E4B572F0}" dt="2023-06-20T03:20:59.174" v="366" actId="165"/>
          <ac:grpSpMkLst>
            <pc:docMk/>
            <pc:sldMk cId="3742056944" sldId="264"/>
            <ac:grpSpMk id="35" creationId="{8D4F622E-1E06-5324-5BC3-3A76297D2781}"/>
          </ac:grpSpMkLst>
        </pc:grpChg>
        <pc:grpChg chg="add del mod">
          <ac:chgData name="Nguyễn Lê Nhật Trường" userId="b57f1783-2bfa-4d82-93dd-4655ec71c09f" providerId="ADAL" clId="{41025DA7-181F-491C-9FBD-FBB8E4B572F0}" dt="2023-06-20T03:20:59.174" v="366" actId="165"/>
          <ac:grpSpMkLst>
            <pc:docMk/>
            <pc:sldMk cId="3742056944" sldId="264"/>
            <ac:grpSpMk id="39" creationId="{6D8D4B25-F0AA-4812-429F-B25D32B7CE70}"/>
          </ac:grpSpMkLst>
        </pc:grpChg>
        <pc:grpChg chg="add del mod">
          <ac:chgData name="Nguyễn Lê Nhật Trường" userId="b57f1783-2bfa-4d82-93dd-4655ec71c09f" providerId="ADAL" clId="{41025DA7-181F-491C-9FBD-FBB8E4B572F0}" dt="2023-06-20T03:20:59.174" v="366" actId="165"/>
          <ac:grpSpMkLst>
            <pc:docMk/>
            <pc:sldMk cId="3742056944" sldId="264"/>
            <ac:grpSpMk id="43" creationId="{E003B762-435F-D57A-BDF7-B26B239C0EAA}"/>
          </ac:grpSpMkLst>
        </pc:grpChg>
        <pc:grpChg chg="add del mod">
          <ac:chgData name="Nguyễn Lê Nhật Trường" userId="b57f1783-2bfa-4d82-93dd-4655ec71c09f" providerId="ADAL" clId="{41025DA7-181F-491C-9FBD-FBB8E4B572F0}" dt="2023-06-20T03:27:08.899" v="434" actId="165"/>
          <ac:grpSpMkLst>
            <pc:docMk/>
            <pc:sldMk cId="3742056944" sldId="264"/>
            <ac:grpSpMk id="56" creationId="{7BE241D5-DAC9-80C1-A1DF-BF9F4727D05E}"/>
          </ac:grpSpMkLst>
        </pc:grpChg>
        <pc:grpChg chg="add mod">
          <ac:chgData name="Nguyễn Lê Nhật Trường" userId="b57f1783-2bfa-4d82-93dd-4655ec71c09f" providerId="ADAL" clId="{41025DA7-181F-491C-9FBD-FBB8E4B572F0}" dt="2023-06-20T03:23:46.904" v="396" actId="571"/>
          <ac:grpSpMkLst>
            <pc:docMk/>
            <pc:sldMk cId="3742056944" sldId="264"/>
            <ac:grpSpMk id="60" creationId="{D812BFE8-757A-BD3B-AB75-09A2B9AFEEC4}"/>
          </ac:grpSpMkLst>
        </pc:grpChg>
        <pc:grpChg chg="add del mod">
          <ac:chgData name="Nguyễn Lê Nhật Trường" userId="b57f1783-2bfa-4d82-93dd-4655ec71c09f" providerId="ADAL" clId="{41025DA7-181F-491C-9FBD-FBB8E4B572F0}" dt="2023-06-20T03:27:37.029" v="435" actId="165"/>
          <ac:grpSpMkLst>
            <pc:docMk/>
            <pc:sldMk cId="3742056944" sldId="264"/>
            <ac:grpSpMk id="66" creationId="{F54B5D54-F721-FC94-F8D3-2B32546F22A3}"/>
          </ac:grpSpMkLst>
        </pc:grpChg>
        <pc:grpChg chg="add del mod">
          <ac:chgData name="Nguyễn Lê Nhật Trường" userId="b57f1783-2bfa-4d82-93dd-4655ec71c09f" providerId="ADAL" clId="{41025DA7-181F-491C-9FBD-FBB8E4B572F0}" dt="2023-06-20T03:29:45.718" v="451" actId="165"/>
          <ac:grpSpMkLst>
            <pc:docMk/>
            <pc:sldMk cId="3742056944" sldId="264"/>
            <ac:grpSpMk id="70" creationId="{D0B9E9AF-75B6-BA0F-BACD-B7A01EBD2AD7}"/>
          </ac:grpSpMkLst>
        </pc:grpChg>
        <pc:grpChg chg="add del mod">
          <ac:chgData name="Nguyễn Lê Nhật Trường" userId="b57f1783-2bfa-4d82-93dd-4655ec71c09f" providerId="ADAL" clId="{41025DA7-181F-491C-9FBD-FBB8E4B572F0}" dt="2023-06-20T03:31:25.550" v="459" actId="165"/>
          <ac:grpSpMkLst>
            <pc:docMk/>
            <pc:sldMk cId="3742056944" sldId="264"/>
            <ac:grpSpMk id="74" creationId="{F4D5327D-3A0C-44B6-C20C-5E34185F86DC}"/>
          </ac:grpSpMkLst>
        </pc:grpChg>
        <pc:grpChg chg="add del mod">
          <ac:chgData name="Nguyễn Lê Nhật Trường" userId="b57f1783-2bfa-4d82-93dd-4655ec71c09f" providerId="ADAL" clId="{41025DA7-181F-491C-9FBD-FBB8E4B572F0}" dt="2023-06-20T03:32:42.167" v="468" actId="165"/>
          <ac:grpSpMkLst>
            <pc:docMk/>
            <pc:sldMk cId="3742056944" sldId="264"/>
            <ac:grpSpMk id="78" creationId="{13454B47-42D0-C29E-CBAF-23C43993F913}"/>
          </ac:grpSpMkLst>
        </pc:grpChg>
        <pc:picChg chg="add mod">
          <ac:chgData name="Nguyễn Lê Nhật Trường" userId="b57f1783-2bfa-4d82-93dd-4655ec71c09f" providerId="ADAL" clId="{41025DA7-181F-491C-9FBD-FBB8E4B572F0}" dt="2023-06-20T03:27:58.075" v="440" actId="12789"/>
          <ac:picMkLst>
            <pc:docMk/>
            <pc:sldMk cId="3742056944" sldId="264"/>
            <ac:picMk id="82" creationId="{C2F0AFED-92B1-95CF-879E-FC0A87C4600B}"/>
          </ac:picMkLst>
        </pc:picChg>
        <pc:picChg chg="add mod">
          <ac:chgData name="Nguyễn Lê Nhật Trường" userId="b57f1783-2bfa-4d82-93dd-4655ec71c09f" providerId="ADAL" clId="{41025DA7-181F-491C-9FBD-FBB8E4B572F0}" dt="2023-06-20T03:29:36.860" v="450" actId="12789"/>
          <ac:picMkLst>
            <pc:docMk/>
            <pc:sldMk cId="3742056944" sldId="264"/>
            <ac:picMk id="84" creationId="{8943C64C-301A-050E-AA8B-1A7E381B258F}"/>
          </ac:picMkLst>
        </pc:picChg>
        <pc:picChg chg="add mod">
          <ac:chgData name="Nguyễn Lê Nhật Trường" userId="b57f1783-2bfa-4d82-93dd-4655ec71c09f" providerId="ADAL" clId="{41025DA7-181F-491C-9FBD-FBB8E4B572F0}" dt="2023-06-20T03:31:12.651" v="458" actId="12789"/>
          <ac:picMkLst>
            <pc:docMk/>
            <pc:sldMk cId="3742056944" sldId="264"/>
            <ac:picMk id="86" creationId="{B284069A-20B2-FE9A-0D4D-212FF7F88DDF}"/>
          </ac:picMkLst>
        </pc:picChg>
        <pc:picChg chg="add mod">
          <ac:chgData name="Nguyễn Lê Nhật Trường" userId="b57f1783-2bfa-4d82-93dd-4655ec71c09f" providerId="ADAL" clId="{41025DA7-181F-491C-9FBD-FBB8E4B572F0}" dt="2023-06-20T03:32:34.490" v="467" actId="12789"/>
          <ac:picMkLst>
            <pc:docMk/>
            <pc:sldMk cId="3742056944" sldId="264"/>
            <ac:picMk id="88" creationId="{49AB76FA-134A-CF98-5B5C-D1ABE51235EB}"/>
          </ac:picMkLst>
        </pc:picChg>
        <pc:picChg chg="add mod">
          <ac:chgData name="Nguyễn Lê Nhật Trường" userId="b57f1783-2bfa-4d82-93dd-4655ec71c09f" providerId="ADAL" clId="{41025DA7-181F-491C-9FBD-FBB8E4B572F0}" dt="2023-06-20T03:35:37.587" v="476" actId="12789"/>
          <ac:picMkLst>
            <pc:docMk/>
            <pc:sldMk cId="3742056944" sldId="264"/>
            <ac:picMk id="90" creationId="{1F145EE0-CDF6-91BD-28A0-D8FF0CB8B9CD}"/>
          </ac:picMkLst>
        </pc:picChg>
      </pc:sldChg>
      <pc:sldChg chg="delSp modSp add mod ord">
        <pc:chgData name="Nguyễn Lê Nhật Trường" userId="b57f1783-2bfa-4d82-93dd-4655ec71c09f" providerId="ADAL" clId="{41025DA7-181F-491C-9FBD-FBB8E4B572F0}" dt="2023-06-20T03:36:39.225" v="488" actId="207"/>
        <pc:sldMkLst>
          <pc:docMk/>
          <pc:sldMk cId="3300936830" sldId="265"/>
        </pc:sldMkLst>
        <pc:spChg chg="mod">
          <ac:chgData name="Nguyễn Lê Nhật Trường" userId="b57f1783-2bfa-4d82-93dd-4655ec71c09f" providerId="ADAL" clId="{41025DA7-181F-491C-9FBD-FBB8E4B572F0}" dt="2023-06-20T03:36:39.225" v="488" actId="207"/>
          <ac:spMkLst>
            <pc:docMk/>
            <pc:sldMk cId="3300936830" sldId="265"/>
            <ac:spMk id="8" creationId="{598E6103-3DFF-4B87-B5C7-300316CB1814}"/>
          </ac:spMkLst>
        </pc:spChg>
        <pc:spChg chg="mod topLvl">
          <ac:chgData name="Nguyễn Lê Nhật Trường" userId="b57f1783-2bfa-4d82-93dd-4655ec71c09f" providerId="ADAL" clId="{41025DA7-181F-491C-9FBD-FBB8E4B572F0}" dt="2023-06-20T03:36:13.828" v="483" actId="207"/>
          <ac:spMkLst>
            <pc:docMk/>
            <pc:sldMk cId="3300936830" sldId="265"/>
            <ac:spMk id="13" creationId="{9D57BE4A-5B6A-4752-A75D-1142E779029A}"/>
          </ac:spMkLst>
        </pc:spChg>
        <pc:spChg chg="mod topLvl">
          <ac:chgData name="Nguyễn Lê Nhật Trường" userId="b57f1783-2bfa-4d82-93dd-4655ec71c09f" providerId="ADAL" clId="{41025DA7-181F-491C-9FBD-FBB8E4B572F0}" dt="2023-06-20T03:36:08.458" v="482" actId="165"/>
          <ac:spMkLst>
            <pc:docMk/>
            <pc:sldMk cId="3300936830" sldId="265"/>
            <ac:spMk id="24" creationId="{2454E598-343F-41EB-AE9A-F24DF23669D2}"/>
          </ac:spMkLst>
        </pc:spChg>
        <pc:spChg chg="mod">
          <ac:chgData name="Nguyễn Lê Nhật Trường" userId="b57f1783-2bfa-4d82-93dd-4655ec71c09f" providerId="ADAL" clId="{41025DA7-181F-491C-9FBD-FBB8E4B572F0}" dt="2023-06-20T03:36:24.551" v="486" actId="108"/>
          <ac:spMkLst>
            <pc:docMk/>
            <pc:sldMk cId="3300936830" sldId="265"/>
            <ac:spMk id="55" creationId="{6F4F90CC-D6D0-478E-A1B4-7C73E42248DB}"/>
          </ac:spMkLst>
        </pc:spChg>
        <pc:spChg chg="mod">
          <ac:chgData name="Nguyễn Lê Nhật Trường" userId="b57f1783-2bfa-4d82-93dd-4655ec71c09f" providerId="ADAL" clId="{41025DA7-181F-491C-9FBD-FBB8E4B572F0}" dt="2023-06-20T03:36:35.481" v="487" actId="207"/>
          <ac:spMkLst>
            <pc:docMk/>
            <pc:sldMk cId="3300936830" sldId="265"/>
            <ac:spMk id="57" creationId="{A4320068-0C27-C478-1818-659D6E54ABB3}"/>
          </ac:spMkLst>
        </pc:spChg>
        <pc:grpChg chg="del mod">
          <ac:chgData name="Nguyễn Lê Nhật Trường" userId="b57f1783-2bfa-4d82-93dd-4655ec71c09f" providerId="ADAL" clId="{41025DA7-181F-491C-9FBD-FBB8E4B572F0}" dt="2023-06-20T03:36:08.458" v="482" actId="165"/>
          <ac:grpSpMkLst>
            <pc:docMk/>
            <pc:sldMk cId="3300936830" sldId="265"/>
            <ac:grpSpMk id="5" creationId="{9BA362C0-A8D7-1A2A-77C8-9B17148C7465}"/>
          </ac:grpSpMkLst>
        </pc:grpChg>
      </pc:sldChg>
      <pc:sldChg chg="del">
        <pc:chgData name="Nguyễn Lê Nhật Trường" userId="b57f1783-2bfa-4d82-93dd-4655ec71c09f" providerId="ADAL" clId="{41025DA7-181F-491C-9FBD-FBB8E4B572F0}" dt="2023-06-25T18:00:43.852" v="4220" actId="47"/>
        <pc:sldMkLst>
          <pc:docMk/>
          <pc:sldMk cId="496033334" sldId="267"/>
        </pc:sldMkLst>
      </pc:sldChg>
      <pc:sldChg chg="delSp modSp mod">
        <pc:chgData name="Nguyễn Lê Nhật Trường" userId="b57f1783-2bfa-4d82-93dd-4655ec71c09f" providerId="ADAL" clId="{41025DA7-181F-491C-9FBD-FBB8E4B572F0}" dt="2023-06-25T19:01:50.223" v="4826" actId="14100"/>
        <pc:sldMkLst>
          <pc:docMk/>
          <pc:sldMk cId="2488781384" sldId="270"/>
        </pc:sldMkLst>
        <pc:spChg chg="mod">
          <ac:chgData name="Nguyễn Lê Nhật Trường" userId="b57f1783-2bfa-4d82-93dd-4655ec71c09f" providerId="ADAL" clId="{41025DA7-181F-491C-9FBD-FBB8E4B572F0}" dt="2023-06-25T19:01:08.631" v="4816" actId="403"/>
          <ac:spMkLst>
            <pc:docMk/>
            <pc:sldMk cId="2488781384" sldId="270"/>
            <ac:spMk id="9" creationId="{6D62F71D-AE6C-D37A-ADED-1548074FEDE3}"/>
          </ac:spMkLst>
        </pc:spChg>
        <pc:spChg chg="del">
          <ac:chgData name="Nguyễn Lê Nhật Trường" userId="b57f1783-2bfa-4d82-93dd-4655ec71c09f" providerId="ADAL" clId="{41025DA7-181F-491C-9FBD-FBB8E4B572F0}" dt="2023-06-25T19:01:20.914" v="4818" actId="478"/>
          <ac:spMkLst>
            <pc:docMk/>
            <pc:sldMk cId="2488781384" sldId="270"/>
            <ac:spMk id="51" creationId="{E6D08930-96E7-4CE2-96AD-7011200C2A51}"/>
          </ac:spMkLst>
        </pc:spChg>
        <pc:graphicFrameChg chg="mod modGraphic">
          <ac:chgData name="Nguyễn Lê Nhật Trường" userId="b57f1783-2bfa-4d82-93dd-4655ec71c09f" providerId="ADAL" clId="{41025DA7-181F-491C-9FBD-FBB8E4B572F0}" dt="2023-06-25T19:01:50.223" v="4826" actId="14100"/>
          <ac:graphicFrameMkLst>
            <pc:docMk/>
            <pc:sldMk cId="2488781384" sldId="270"/>
            <ac:graphicFrameMk id="11" creationId="{8F316E94-EF0D-7FD3-8FFF-CD1DB1E2242C}"/>
          </ac:graphicFrameMkLst>
        </pc:graphicFrameChg>
      </pc:sldChg>
      <pc:sldChg chg="modSp mod">
        <pc:chgData name="Nguyễn Lê Nhật Trường" userId="b57f1783-2bfa-4d82-93dd-4655ec71c09f" providerId="ADAL" clId="{41025DA7-181F-491C-9FBD-FBB8E4B572F0}" dt="2023-06-25T19:00:29.054" v="4814" actId="1076"/>
        <pc:sldMkLst>
          <pc:docMk/>
          <pc:sldMk cId="2981287616" sldId="271"/>
        </pc:sldMkLst>
        <pc:spChg chg="mod">
          <ac:chgData name="Nguyễn Lê Nhật Trường" userId="b57f1783-2bfa-4d82-93dd-4655ec71c09f" providerId="ADAL" clId="{41025DA7-181F-491C-9FBD-FBB8E4B572F0}" dt="2023-06-25T19:00:29.054" v="4814" actId="1076"/>
          <ac:spMkLst>
            <pc:docMk/>
            <pc:sldMk cId="2981287616" sldId="271"/>
            <ac:spMk id="3" creationId="{C5319C80-1BC1-10EA-C669-EC425E6F59FC}"/>
          </ac:spMkLst>
        </pc:spChg>
        <pc:spChg chg="mod">
          <ac:chgData name="Nguyễn Lê Nhật Trường" userId="b57f1783-2bfa-4d82-93dd-4655ec71c09f" providerId="ADAL" clId="{41025DA7-181F-491C-9FBD-FBB8E4B572F0}" dt="2023-06-25T19:00:25.186" v="4813" actId="14100"/>
          <ac:spMkLst>
            <pc:docMk/>
            <pc:sldMk cId="2981287616" sldId="271"/>
            <ac:spMk id="9" creationId="{6D62F71D-AE6C-D37A-ADED-1548074FEDE3}"/>
          </ac:spMkLst>
        </pc:spChg>
      </pc:sldChg>
      <pc:sldChg chg="add del">
        <pc:chgData name="Nguyễn Lê Nhật Trường" userId="b57f1783-2bfa-4d82-93dd-4655ec71c09f" providerId="ADAL" clId="{41025DA7-181F-491C-9FBD-FBB8E4B572F0}" dt="2023-06-24T05:57:45.488" v="1884" actId="47"/>
        <pc:sldMkLst>
          <pc:docMk/>
          <pc:sldMk cId="884875436" sldId="279"/>
        </pc:sldMkLst>
      </pc:sldChg>
      <pc:sldChg chg="delSp modSp add mod ord modClrScheme chgLayout">
        <pc:chgData name="Nguyễn Lê Nhật Trường" userId="b57f1783-2bfa-4d82-93dd-4655ec71c09f" providerId="ADAL" clId="{41025DA7-181F-491C-9FBD-FBB8E4B572F0}" dt="2023-06-24T03:09:01.689" v="555" actId="732"/>
        <pc:sldMkLst>
          <pc:docMk/>
          <pc:sldMk cId="3849629235" sldId="280"/>
        </pc:sldMkLst>
        <pc:spChg chg="mod ord">
          <ac:chgData name="Nguyễn Lê Nhật Trường" userId="b57f1783-2bfa-4d82-93dd-4655ec71c09f" providerId="ADAL" clId="{41025DA7-181F-491C-9FBD-FBB8E4B572F0}" dt="2023-06-24T03:07:05.841" v="539" actId="700"/>
          <ac:spMkLst>
            <pc:docMk/>
            <pc:sldMk cId="3849629235" sldId="280"/>
            <ac:spMk id="2" creationId="{4F4E61E0-F34E-4203-90A7-F5F0FE00AD5A}"/>
          </ac:spMkLst>
        </pc:spChg>
        <pc:spChg chg="del mod ord">
          <ac:chgData name="Nguyễn Lê Nhật Trường" userId="b57f1783-2bfa-4d82-93dd-4655ec71c09f" providerId="ADAL" clId="{41025DA7-181F-491C-9FBD-FBB8E4B572F0}" dt="2023-06-24T03:07:15.864" v="540" actId="478"/>
          <ac:spMkLst>
            <pc:docMk/>
            <pc:sldMk cId="3849629235" sldId="280"/>
            <ac:spMk id="3" creationId="{86928F88-9869-406A-A386-D84EB71A8317}"/>
          </ac:spMkLst>
        </pc:spChg>
        <pc:picChg chg="mod ord modCrop">
          <ac:chgData name="Nguyễn Lê Nhật Trường" userId="b57f1783-2bfa-4d82-93dd-4655ec71c09f" providerId="ADAL" clId="{41025DA7-181F-491C-9FBD-FBB8E4B572F0}" dt="2023-06-24T03:09:01.689" v="555" actId="732"/>
          <ac:picMkLst>
            <pc:docMk/>
            <pc:sldMk cId="3849629235" sldId="280"/>
            <ac:picMk id="8" creationId="{7374BEB9-5DBE-E30B-7552-0165EF064528}"/>
          </ac:picMkLst>
        </pc:picChg>
      </pc:sldChg>
      <pc:sldChg chg="modSp add mod">
        <pc:chgData name="Nguyễn Lê Nhật Trường" userId="b57f1783-2bfa-4d82-93dd-4655ec71c09f" providerId="ADAL" clId="{41025DA7-181F-491C-9FBD-FBB8E4B572F0}" dt="2023-06-24T05:01:29.264" v="570" actId="1076"/>
        <pc:sldMkLst>
          <pc:docMk/>
          <pc:sldMk cId="4146012067" sldId="281"/>
        </pc:sldMkLst>
        <pc:spChg chg="mod">
          <ac:chgData name="Nguyễn Lê Nhật Trường" userId="b57f1783-2bfa-4d82-93dd-4655ec71c09f" providerId="ADAL" clId="{41025DA7-181F-491C-9FBD-FBB8E4B572F0}" dt="2023-06-24T04:48:39.915" v="557" actId="207"/>
          <ac:spMkLst>
            <pc:docMk/>
            <pc:sldMk cId="4146012067" sldId="281"/>
            <ac:spMk id="3" creationId="{86928F88-9869-406A-A386-D84EB71A8317}"/>
          </ac:spMkLst>
        </pc:spChg>
        <pc:picChg chg="mod">
          <ac:chgData name="Nguyễn Lê Nhật Trường" userId="b57f1783-2bfa-4d82-93dd-4655ec71c09f" providerId="ADAL" clId="{41025DA7-181F-491C-9FBD-FBB8E4B572F0}" dt="2023-06-24T05:01:29.264" v="570" actId="1076"/>
          <ac:picMkLst>
            <pc:docMk/>
            <pc:sldMk cId="4146012067" sldId="281"/>
            <ac:picMk id="8" creationId="{7374BEB9-5DBE-E30B-7552-0165EF064528}"/>
          </ac:picMkLst>
        </pc:picChg>
      </pc:sldChg>
      <pc:sldChg chg="addSp delSp modSp add mod modTransition modClrScheme chgLayout">
        <pc:chgData name="Nguyễn Lê Nhật Trường" userId="b57f1783-2bfa-4d82-93dd-4655ec71c09f" providerId="ADAL" clId="{41025DA7-181F-491C-9FBD-FBB8E4B572F0}" dt="2023-06-24T05:10:31.698" v="717"/>
        <pc:sldMkLst>
          <pc:docMk/>
          <pc:sldMk cId="1872183522" sldId="282"/>
        </pc:sldMkLst>
        <pc:spChg chg="mod ord">
          <ac:chgData name="Nguyễn Lê Nhật Trường" userId="b57f1783-2bfa-4d82-93dd-4655ec71c09f" providerId="ADAL" clId="{41025DA7-181F-491C-9FBD-FBB8E4B572F0}" dt="2023-06-24T04:57:53.084" v="564" actId="700"/>
          <ac:spMkLst>
            <pc:docMk/>
            <pc:sldMk cId="1872183522" sldId="282"/>
            <ac:spMk id="2" creationId="{4F4E61E0-F34E-4203-90A7-F5F0FE00AD5A}"/>
          </ac:spMkLst>
        </pc:spChg>
        <pc:spChg chg="mod ord">
          <ac:chgData name="Nguyễn Lê Nhật Trường" userId="b57f1783-2bfa-4d82-93dd-4655ec71c09f" providerId="ADAL" clId="{41025DA7-181F-491C-9FBD-FBB8E4B572F0}" dt="2023-06-24T04:58:01.100" v="565" actId="12"/>
          <ac:spMkLst>
            <pc:docMk/>
            <pc:sldMk cId="1872183522" sldId="282"/>
            <ac:spMk id="3" creationId="{86928F88-9869-406A-A386-D84EB71A8317}"/>
          </ac:spMkLst>
        </pc:spChg>
        <pc:spChg chg="add del mod">
          <ac:chgData name="Nguyễn Lê Nhật Trường" userId="b57f1783-2bfa-4d82-93dd-4655ec71c09f" providerId="ADAL" clId="{41025DA7-181F-491C-9FBD-FBB8E4B572F0}" dt="2023-06-24T04:57:53.084" v="564" actId="700"/>
          <ac:spMkLst>
            <pc:docMk/>
            <pc:sldMk cId="1872183522" sldId="282"/>
            <ac:spMk id="5" creationId="{FE7A7BCC-464C-DD71-435A-6C5E3CD613C1}"/>
          </ac:spMkLst>
        </pc:spChg>
        <pc:spChg chg="add del mod">
          <ac:chgData name="Nguyễn Lê Nhật Trường" userId="b57f1783-2bfa-4d82-93dd-4655ec71c09f" providerId="ADAL" clId="{41025DA7-181F-491C-9FBD-FBB8E4B572F0}" dt="2023-06-24T05:07:57.329" v="705" actId="478"/>
          <ac:spMkLst>
            <pc:docMk/>
            <pc:sldMk cId="1872183522" sldId="282"/>
            <ac:spMk id="6" creationId="{17DDEAF2-C654-3AD2-E1BC-21D9D8EFA06E}"/>
          </ac:spMkLst>
        </pc:spChg>
        <pc:spChg chg="add del mod">
          <ac:chgData name="Nguyễn Lê Nhật Trường" userId="b57f1783-2bfa-4d82-93dd-4655ec71c09f" providerId="ADAL" clId="{41025DA7-181F-491C-9FBD-FBB8E4B572F0}" dt="2023-06-24T05:04:35.582" v="578" actId="478"/>
          <ac:spMkLst>
            <pc:docMk/>
            <pc:sldMk cId="1872183522" sldId="282"/>
            <ac:spMk id="10" creationId="{68B0A9A3-BE49-288C-C6A3-824D8E0A601F}"/>
          </ac:spMkLst>
        </pc:spChg>
        <pc:spChg chg="add mod">
          <ac:chgData name="Nguyễn Lê Nhật Trường" userId="b57f1783-2bfa-4d82-93dd-4655ec71c09f" providerId="ADAL" clId="{41025DA7-181F-491C-9FBD-FBB8E4B572F0}" dt="2023-06-24T05:07:51.682" v="704" actId="14100"/>
          <ac:spMkLst>
            <pc:docMk/>
            <pc:sldMk cId="1872183522" sldId="282"/>
            <ac:spMk id="11" creationId="{129FEBC0-1E72-5ADE-1000-E9C5A86619B8}"/>
          </ac:spMkLst>
        </pc:spChg>
        <pc:spChg chg="add del mod">
          <ac:chgData name="Nguyễn Lê Nhật Trường" userId="b57f1783-2bfa-4d82-93dd-4655ec71c09f" providerId="ADAL" clId="{41025DA7-181F-491C-9FBD-FBB8E4B572F0}" dt="2023-06-24T05:07:22.942" v="698" actId="767"/>
          <ac:spMkLst>
            <pc:docMk/>
            <pc:sldMk cId="1872183522" sldId="282"/>
            <ac:spMk id="12" creationId="{A04F3812-009E-DB29-DDD4-C4747607DD70}"/>
          </ac:spMkLst>
        </pc:spChg>
        <pc:picChg chg="del">
          <ac:chgData name="Nguyễn Lê Nhật Trường" userId="b57f1783-2bfa-4d82-93dd-4655ec71c09f" providerId="ADAL" clId="{41025DA7-181F-491C-9FBD-FBB8E4B572F0}" dt="2023-06-24T04:57:07.011" v="560" actId="478"/>
          <ac:picMkLst>
            <pc:docMk/>
            <pc:sldMk cId="1872183522" sldId="282"/>
            <ac:picMk id="8" creationId="{7374BEB9-5DBE-E30B-7552-0165EF064528}"/>
          </ac:picMkLst>
        </pc:picChg>
        <pc:picChg chg="add del mod ord">
          <ac:chgData name="Nguyễn Lê Nhật Trường" userId="b57f1783-2bfa-4d82-93dd-4655ec71c09f" providerId="ADAL" clId="{41025DA7-181F-491C-9FBD-FBB8E4B572F0}" dt="2023-06-24T05:09:49.444" v="709" actId="478"/>
          <ac:picMkLst>
            <pc:docMk/>
            <pc:sldMk cId="1872183522" sldId="282"/>
            <ac:picMk id="9" creationId="{1445FAC1-7549-4FBF-4CED-68C1EBB02FE9}"/>
          </ac:picMkLst>
        </pc:picChg>
        <pc:picChg chg="add mod">
          <ac:chgData name="Nguyễn Lê Nhật Trường" userId="b57f1783-2bfa-4d82-93dd-4655ec71c09f" providerId="ADAL" clId="{41025DA7-181F-491C-9FBD-FBB8E4B572F0}" dt="2023-06-24T05:10:03.227" v="715" actId="1035"/>
          <ac:picMkLst>
            <pc:docMk/>
            <pc:sldMk cId="1872183522" sldId="282"/>
            <ac:picMk id="14" creationId="{688998E3-5FDD-04E0-A298-B4E18EC1C854}"/>
          </ac:picMkLst>
        </pc:picChg>
      </pc:sldChg>
      <pc:sldChg chg="modSp add mod ord">
        <pc:chgData name="Nguyễn Lê Nhật Trường" userId="b57f1783-2bfa-4d82-93dd-4655ec71c09f" providerId="ADAL" clId="{41025DA7-181F-491C-9FBD-FBB8E4B572F0}" dt="2023-06-24T05:13:30.567" v="724" actId="207"/>
        <pc:sldMkLst>
          <pc:docMk/>
          <pc:sldMk cId="1827181764" sldId="283"/>
        </pc:sldMkLst>
        <pc:spChg chg="mod">
          <ac:chgData name="Nguyễn Lê Nhật Trường" userId="b57f1783-2bfa-4d82-93dd-4655ec71c09f" providerId="ADAL" clId="{41025DA7-181F-491C-9FBD-FBB8E4B572F0}" dt="2023-06-24T05:13:26.182" v="723" actId="207"/>
          <ac:spMkLst>
            <pc:docMk/>
            <pc:sldMk cId="1827181764" sldId="283"/>
            <ac:spMk id="55" creationId="{6F4F90CC-D6D0-478E-A1B4-7C73E42248DB}"/>
          </ac:spMkLst>
        </pc:spChg>
        <pc:spChg chg="mod">
          <ac:chgData name="Nguyễn Lê Nhật Trường" userId="b57f1783-2bfa-4d82-93dd-4655ec71c09f" providerId="ADAL" clId="{41025DA7-181F-491C-9FBD-FBB8E4B572F0}" dt="2023-06-24T05:13:21.816" v="722" actId="207"/>
          <ac:spMkLst>
            <pc:docMk/>
            <pc:sldMk cId="1827181764" sldId="283"/>
            <ac:spMk id="57" creationId="{A4320068-0C27-C478-1818-659D6E54ABB3}"/>
          </ac:spMkLst>
        </pc:spChg>
        <pc:spChg chg="mod">
          <ac:chgData name="Nguyễn Lê Nhật Trường" userId="b57f1783-2bfa-4d82-93dd-4655ec71c09f" providerId="ADAL" clId="{41025DA7-181F-491C-9FBD-FBB8E4B572F0}" dt="2023-06-24T05:13:30.567" v="724" actId="207"/>
          <ac:spMkLst>
            <pc:docMk/>
            <pc:sldMk cId="1827181764" sldId="283"/>
            <ac:spMk id="65" creationId="{4DF64A59-F14B-6897-5DA8-4518E033B3A1}"/>
          </ac:spMkLst>
        </pc:spChg>
        <pc:spChg chg="mod">
          <ac:chgData name="Nguyễn Lê Nhật Trường" userId="b57f1783-2bfa-4d82-93dd-4655ec71c09f" providerId="ADAL" clId="{41025DA7-181F-491C-9FBD-FBB8E4B572F0}" dt="2023-06-24T05:13:13.293" v="721" actId="207"/>
          <ac:spMkLst>
            <pc:docMk/>
            <pc:sldMk cId="1827181764" sldId="283"/>
            <ac:spMk id="67" creationId="{32E4ECB2-EF44-3F75-2577-EA5AF77003E1}"/>
          </ac:spMkLst>
        </pc:spChg>
      </pc:sldChg>
      <pc:sldChg chg="add del">
        <pc:chgData name="Nguyễn Lê Nhật Trường" userId="b57f1783-2bfa-4d82-93dd-4655ec71c09f" providerId="ADAL" clId="{41025DA7-181F-491C-9FBD-FBB8E4B572F0}" dt="2023-06-24T05:57:41.684" v="1883" actId="47"/>
        <pc:sldMkLst>
          <pc:docMk/>
          <pc:sldMk cId="2637477686" sldId="284"/>
        </pc:sldMkLst>
      </pc:sldChg>
      <pc:sldChg chg="modSp add mod">
        <pc:chgData name="Nguyễn Lê Nhật Trường" userId="b57f1783-2bfa-4d82-93dd-4655ec71c09f" providerId="ADAL" clId="{41025DA7-181F-491C-9FBD-FBB8E4B572F0}" dt="2023-06-24T05:17:34.066" v="740" actId="14100"/>
        <pc:sldMkLst>
          <pc:docMk/>
          <pc:sldMk cId="2239960333" sldId="285"/>
        </pc:sldMkLst>
        <pc:spChg chg="mod">
          <ac:chgData name="Nguyễn Lê Nhật Trường" userId="b57f1783-2bfa-4d82-93dd-4655ec71c09f" providerId="ADAL" clId="{41025DA7-181F-491C-9FBD-FBB8E4B572F0}" dt="2023-06-24T05:15:06.075" v="730"/>
          <ac:spMkLst>
            <pc:docMk/>
            <pc:sldMk cId="2239960333" sldId="285"/>
            <ac:spMk id="2" creationId="{C6366DED-7696-60FE-DB67-E0C1A90263F4}"/>
          </ac:spMkLst>
        </pc:spChg>
        <pc:spChg chg="mod">
          <ac:chgData name="Nguyễn Lê Nhật Trường" userId="b57f1783-2bfa-4d82-93dd-4655ec71c09f" providerId="ADAL" clId="{41025DA7-181F-491C-9FBD-FBB8E4B572F0}" dt="2023-06-24T05:17:34.066" v="740" actId="14100"/>
          <ac:spMkLst>
            <pc:docMk/>
            <pc:sldMk cId="2239960333" sldId="285"/>
            <ac:spMk id="5" creationId="{7A98AC72-EE2A-3D59-2D8A-0C18500C7F04}"/>
          </ac:spMkLst>
        </pc:spChg>
      </pc:sldChg>
      <pc:sldChg chg="addSp delSp modSp add mod">
        <pc:chgData name="Nguyễn Lê Nhật Trường" userId="b57f1783-2bfa-4d82-93dd-4655ec71c09f" providerId="ADAL" clId="{41025DA7-181F-491C-9FBD-FBB8E4B572F0}" dt="2023-06-24T05:32:29.874" v="1119" actId="20577"/>
        <pc:sldMkLst>
          <pc:docMk/>
          <pc:sldMk cId="2841337569" sldId="286"/>
        </pc:sldMkLst>
        <pc:spChg chg="del">
          <ac:chgData name="Nguyễn Lê Nhật Trường" userId="b57f1783-2bfa-4d82-93dd-4655ec71c09f" providerId="ADAL" clId="{41025DA7-181F-491C-9FBD-FBB8E4B572F0}" dt="2023-06-24T05:20:24.940" v="807" actId="478"/>
          <ac:spMkLst>
            <pc:docMk/>
            <pc:sldMk cId="2841337569" sldId="286"/>
            <ac:spMk id="2" creationId="{4F4E61E0-F34E-4203-90A7-F5F0FE00AD5A}"/>
          </ac:spMkLst>
        </pc:spChg>
        <pc:spChg chg="mod">
          <ac:chgData name="Nguyễn Lê Nhật Trường" userId="b57f1783-2bfa-4d82-93dd-4655ec71c09f" providerId="ADAL" clId="{41025DA7-181F-491C-9FBD-FBB8E4B572F0}" dt="2023-06-24T05:32:29.874" v="1119" actId="20577"/>
          <ac:spMkLst>
            <pc:docMk/>
            <pc:sldMk cId="2841337569" sldId="286"/>
            <ac:spMk id="3" creationId="{86928F88-9869-406A-A386-D84EB71A8317}"/>
          </ac:spMkLst>
        </pc:spChg>
        <pc:spChg chg="add del mod">
          <ac:chgData name="Nguyễn Lê Nhật Trường" userId="b57f1783-2bfa-4d82-93dd-4655ec71c09f" providerId="ADAL" clId="{41025DA7-181F-491C-9FBD-FBB8E4B572F0}" dt="2023-06-24T05:20:29.092" v="810" actId="478"/>
          <ac:spMkLst>
            <pc:docMk/>
            <pc:sldMk cId="2841337569" sldId="286"/>
            <ac:spMk id="5" creationId="{F87B4060-6C6F-4B6B-652C-06A1D112D5F3}"/>
          </ac:spMkLst>
        </pc:spChg>
        <pc:spChg chg="add del mod">
          <ac:chgData name="Nguyễn Lê Nhật Trường" userId="b57f1783-2bfa-4d82-93dd-4655ec71c09f" providerId="ADAL" clId="{41025DA7-181F-491C-9FBD-FBB8E4B572F0}" dt="2023-06-24T05:20:26.273" v="809"/>
          <ac:spMkLst>
            <pc:docMk/>
            <pc:sldMk cId="2841337569" sldId="286"/>
            <ac:spMk id="6" creationId="{66CAD0E4-2BF8-9E83-B0F2-C0F4D9CB9111}"/>
          </ac:spMkLst>
        </pc:spChg>
        <pc:spChg chg="add mod">
          <ac:chgData name="Nguyễn Lê Nhật Trường" userId="b57f1783-2bfa-4d82-93dd-4655ec71c09f" providerId="ADAL" clId="{41025DA7-181F-491C-9FBD-FBB8E4B572F0}" dt="2023-06-24T05:20:29.417" v="811"/>
          <ac:spMkLst>
            <pc:docMk/>
            <pc:sldMk cId="2841337569" sldId="286"/>
            <ac:spMk id="7" creationId="{6C56BD45-B3D0-1482-095A-505AFDA42532}"/>
          </ac:spMkLst>
        </pc:spChg>
        <pc:spChg chg="add del mod">
          <ac:chgData name="Nguyễn Lê Nhật Trường" userId="b57f1783-2bfa-4d82-93dd-4655ec71c09f" providerId="ADAL" clId="{41025DA7-181F-491C-9FBD-FBB8E4B572F0}" dt="2023-06-24T05:20:50.312" v="813"/>
          <ac:spMkLst>
            <pc:docMk/>
            <pc:sldMk cId="2841337569" sldId="286"/>
            <ac:spMk id="10" creationId="{7CFB3E04-7390-C660-74CD-F393F4450AA5}"/>
          </ac:spMkLst>
        </pc:spChg>
        <pc:spChg chg="add mod">
          <ac:chgData name="Nguyễn Lê Nhật Trường" userId="b57f1783-2bfa-4d82-93dd-4655ec71c09f" providerId="ADAL" clId="{41025DA7-181F-491C-9FBD-FBB8E4B572F0}" dt="2023-06-24T05:23:44.392" v="880" actId="403"/>
          <ac:spMkLst>
            <pc:docMk/>
            <pc:sldMk cId="2841337569" sldId="286"/>
            <ac:spMk id="15" creationId="{69457906-010A-534E-3024-73CEE13E5A47}"/>
          </ac:spMkLst>
        </pc:spChg>
        <pc:picChg chg="del">
          <ac:chgData name="Nguyễn Lê Nhật Trường" userId="b57f1783-2bfa-4d82-93dd-4655ec71c09f" providerId="ADAL" clId="{41025DA7-181F-491C-9FBD-FBB8E4B572F0}" dt="2023-06-24T05:20:32.320" v="812" actId="478"/>
          <ac:picMkLst>
            <pc:docMk/>
            <pc:sldMk cId="2841337569" sldId="286"/>
            <ac:picMk id="8" creationId="{7374BEB9-5DBE-E30B-7552-0165EF064528}"/>
          </ac:picMkLst>
        </pc:picChg>
        <pc:picChg chg="add mod">
          <ac:chgData name="Nguyễn Lê Nhật Trường" userId="b57f1783-2bfa-4d82-93dd-4655ec71c09f" providerId="ADAL" clId="{41025DA7-181F-491C-9FBD-FBB8E4B572F0}" dt="2023-06-24T05:21:01.424" v="818" actId="1076"/>
          <ac:picMkLst>
            <pc:docMk/>
            <pc:sldMk cId="2841337569" sldId="286"/>
            <ac:picMk id="12" creationId="{98825C76-85AE-5DDD-875F-842B08AB7E4F}"/>
          </ac:picMkLst>
        </pc:picChg>
        <pc:picChg chg="add mod">
          <ac:chgData name="Nguyễn Lê Nhật Trường" userId="b57f1783-2bfa-4d82-93dd-4655ec71c09f" providerId="ADAL" clId="{41025DA7-181F-491C-9FBD-FBB8E4B572F0}" dt="2023-06-24T05:21:13.284" v="823" actId="14100"/>
          <ac:picMkLst>
            <pc:docMk/>
            <pc:sldMk cId="2841337569" sldId="286"/>
            <ac:picMk id="14" creationId="{B06BEAF7-0E50-FC0B-A8D2-034093FCC4C3}"/>
          </ac:picMkLst>
        </pc:picChg>
      </pc:sldChg>
      <pc:sldChg chg="new del">
        <pc:chgData name="Nguyễn Lê Nhật Trường" userId="b57f1783-2bfa-4d82-93dd-4655ec71c09f" providerId="ADAL" clId="{41025DA7-181F-491C-9FBD-FBB8E4B572F0}" dt="2023-06-24T06:00:41.673" v="1890" actId="47"/>
        <pc:sldMkLst>
          <pc:docMk/>
          <pc:sldMk cId="2999417788" sldId="287"/>
        </pc:sldMkLst>
      </pc:sldChg>
      <pc:sldChg chg="addSp delSp modSp add mod ord modClrScheme chgLayout">
        <pc:chgData name="Nguyễn Lê Nhật Trường" userId="b57f1783-2bfa-4d82-93dd-4655ec71c09f" providerId="ADAL" clId="{41025DA7-181F-491C-9FBD-FBB8E4B572F0}" dt="2023-06-24T15:41:21.421" v="3444"/>
        <pc:sldMkLst>
          <pc:docMk/>
          <pc:sldMk cId="2759465102" sldId="288"/>
        </pc:sldMkLst>
        <pc:spChg chg="del mod">
          <ac:chgData name="Nguyễn Lê Nhật Trường" userId="b57f1783-2bfa-4d82-93dd-4655ec71c09f" providerId="ADAL" clId="{41025DA7-181F-491C-9FBD-FBB8E4B572F0}" dt="2023-06-24T06:51:23.357" v="1892" actId="700"/>
          <ac:spMkLst>
            <pc:docMk/>
            <pc:sldMk cId="2759465102" sldId="288"/>
            <ac:spMk id="3" creationId="{86928F88-9869-406A-A386-D84EB71A8317}"/>
          </ac:spMkLst>
        </pc:spChg>
        <pc:spChg chg="add del mod">
          <ac:chgData name="Nguyễn Lê Nhật Trường" userId="b57f1783-2bfa-4d82-93dd-4655ec71c09f" providerId="ADAL" clId="{41025DA7-181F-491C-9FBD-FBB8E4B572F0}" dt="2023-06-24T06:51:23.357" v="1892" actId="700"/>
          <ac:spMkLst>
            <pc:docMk/>
            <pc:sldMk cId="2759465102" sldId="288"/>
            <ac:spMk id="4" creationId="{F81E79BF-0F8A-901C-F504-3DF60A0E304B}"/>
          </ac:spMkLst>
        </pc:spChg>
        <pc:spChg chg="add mod">
          <ac:chgData name="Nguyễn Lê Nhật Trường" userId="b57f1783-2bfa-4d82-93dd-4655ec71c09f" providerId="ADAL" clId="{41025DA7-181F-491C-9FBD-FBB8E4B572F0}" dt="2023-06-24T07:11:26.864" v="1964" actId="1076"/>
          <ac:spMkLst>
            <pc:docMk/>
            <pc:sldMk cId="2759465102" sldId="288"/>
            <ac:spMk id="5" creationId="{9B5B979A-6177-6A5A-C2DE-FEA16EFEBC0F}"/>
          </ac:spMkLst>
        </pc:spChg>
        <pc:spChg chg="mod ord">
          <ac:chgData name="Nguyễn Lê Nhật Trường" userId="b57f1783-2bfa-4d82-93dd-4655ec71c09f" providerId="ADAL" clId="{41025DA7-181F-491C-9FBD-FBB8E4B572F0}" dt="2023-06-24T06:51:38.687" v="1938" actId="20577"/>
          <ac:spMkLst>
            <pc:docMk/>
            <pc:sldMk cId="2759465102" sldId="288"/>
            <ac:spMk id="7" creationId="{6C56BD45-B3D0-1482-095A-505AFDA42532}"/>
          </ac:spMkLst>
        </pc:spChg>
        <pc:spChg chg="add mod">
          <ac:chgData name="Nguyễn Lê Nhật Trường" userId="b57f1783-2bfa-4d82-93dd-4655ec71c09f" providerId="ADAL" clId="{41025DA7-181F-491C-9FBD-FBB8E4B572F0}" dt="2023-06-24T07:11:26.864" v="1964" actId="1076"/>
          <ac:spMkLst>
            <pc:docMk/>
            <pc:sldMk cId="2759465102" sldId="288"/>
            <ac:spMk id="11" creationId="{14EDFC6E-9679-B503-CADF-35ACC0740B12}"/>
          </ac:spMkLst>
        </pc:spChg>
        <pc:spChg chg="del">
          <ac:chgData name="Nguyễn Lê Nhật Trường" userId="b57f1783-2bfa-4d82-93dd-4655ec71c09f" providerId="ADAL" clId="{41025DA7-181F-491C-9FBD-FBB8E4B572F0}" dt="2023-06-24T06:00:22.928" v="1887" actId="478"/>
          <ac:spMkLst>
            <pc:docMk/>
            <pc:sldMk cId="2759465102" sldId="288"/>
            <ac:spMk id="15" creationId="{69457906-010A-534E-3024-73CEE13E5A47}"/>
          </ac:spMkLst>
        </pc:spChg>
        <pc:picChg chg="add del mod">
          <ac:chgData name="Nguyễn Lê Nhật Trường" userId="b57f1783-2bfa-4d82-93dd-4655ec71c09f" providerId="ADAL" clId="{41025DA7-181F-491C-9FBD-FBB8E4B572F0}" dt="2023-06-24T07:07:16.412" v="1943" actId="478"/>
          <ac:picMkLst>
            <pc:docMk/>
            <pc:sldMk cId="2759465102" sldId="288"/>
            <ac:picMk id="6" creationId="{0ADDBB93-7A98-D39F-DF00-3C1FC9976BFA}"/>
          </ac:picMkLst>
        </pc:picChg>
        <pc:picChg chg="add mod">
          <ac:chgData name="Nguyễn Lê Nhật Trường" userId="b57f1783-2bfa-4d82-93dd-4655ec71c09f" providerId="ADAL" clId="{41025DA7-181F-491C-9FBD-FBB8E4B572F0}" dt="2023-06-24T07:11:26.864" v="1964" actId="1076"/>
          <ac:picMkLst>
            <pc:docMk/>
            <pc:sldMk cId="2759465102" sldId="288"/>
            <ac:picMk id="9" creationId="{809448FD-6F78-875C-1C70-64BC5CA1DE28}"/>
          </ac:picMkLst>
        </pc:picChg>
        <pc:picChg chg="del">
          <ac:chgData name="Nguyễn Lê Nhật Trường" userId="b57f1783-2bfa-4d82-93dd-4655ec71c09f" providerId="ADAL" clId="{41025DA7-181F-491C-9FBD-FBB8E4B572F0}" dt="2023-06-24T06:00:32.699" v="1889" actId="478"/>
          <ac:picMkLst>
            <pc:docMk/>
            <pc:sldMk cId="2759465102" sldId="288"/>
            <ac:picMk id="12" creationId="{98825C76-85AE-5DDD-875F-842B08AB7E4F}"/>
          </ac:picMkLst>
        </pc:picChg>
        <pc:picChg chg="del">
          <ac:chgData name="Nguyễn Lê Nhật Trường" userId="b57f1783-2bfa-4d82-93dd-4655ec71c09f" providerId="ADAL" clId="{41025DA7-181F-491C-9FBD-FBB8E4B572F0}" dt="2023-06-24T06:00:32.699" v="1889" actId="478"/>
          <ac:picMkLst>
            <pc:docMk/>
            <pc:sldMk cId="2759465102" sldId="288"/>
            <ac:picMk id="14" creationId="{B06BEAF7-0E50-FC0B-A8D2-034093FCC4C3}"/>
          </ac:picMkLst>
        </pc:picChg>
      </pc:sldChg>
      <pc:sldChg chg="addSp delSp modSp new mod">
        <pc:chgData name="Nguyễn Lê Nhật Trường" userId="b57f1783-2bfa-4d82-93dd-4655ec71c09f" providerId="ADAL" clId="{41025DA7-181F-491C-9FBD-FBB8E4B572F0}" dt="2023-06-24T09:50:54.266" v="2959" actId="20577"/>
        <pc:sldMkLst>
          <pc:docMk/>
          <pc:sldMk cId="1750260282" sldId="289"/>
        </pc:sldMkLst>
        <pc:spChg chg="del">
          <ac:chgData name="Nguyễn Lê Nhật Trường" userId="b57f1783-2bfa-4d82-93dd-4655ec71c09f" providerId="ADAL" clId="{41025DA7-181F-491C-9FBD-FBB8E4B572F0}" dt="2023-06-24T07:12:03.211" v="1966" actId="478"/>
          <ac:spMkLst>
            <pc:docMk/>
            <pc:sldMk cId="1750260282" sldId="289"/>
            <ac:spMk id="2" creationId="{C31F0AA9-1F9A-056F-697A-05D09CC367B4}"/>
          </ac:spMkLst>
        </pc:spChg>
        <pc:spChg chg="add mod">
          <ac:chgData name="Nguyễn Lê Nhật Trường" userId="b57f1783-2bfa-4d82-93dd-4655ec71c09f" providerId="ADAL" clId="{41025DA7-181F-491C-9FBD-FBB8E4B572F0}" dt="2023-06-24T07:12:03.627" v="1967"/>
          <ac:spMkLst>
            <pc:docMk/>
            <pc:sldMk cId="1750260282" sldId="289"/>
            <ac:spMk id="3" creationId="{93408BE5-8F7E-55E3-7EE2-E11316895C59}"/>
          </ac:spMkLst>
        </pc:spChg>
        <pc:spChg chg="add mod">
          <ac:chgData name="Nguyễn Lê Nhật Trường" userId="b57f1783-2bfa-4d82-93dd-4655ec71c09f" providerId="ADAL" clId="{41025DA7-181F-491C-9FBD-FBB8E4B572F0}" dt="2023-06-24T07:50:58.747" v="2006" actId="20577"/>
          <ac:spMkLst>
            <pc:docMk/>
            <pc:sldMk cId="1750260282" sldId="289"/>
            <ac:spMk id="4" creationId="{50B981C0-E8A1-33EA-413E-2EBD8C8E39E9}"/>
          </ac:spMkLst>
        </pc:spChg>
        <pc:spChg chg="add del mod">
          <ac:chgData name="Nguyễn Lê Nhật Trường" userId="b57f1783-2bfa-4d82-93dd-4655ec71c09f" providerId="ADAL" clId="{41025DA7-181F-491C-9FBD-FBB8E4B572F0}" dt="2023-06-24T07:53:33.090" v="2150" actId="12084"/>
          <ac:spMkLst>
            <pc:docMk/>
            <pc:sldMk cId="1750260282" sldId="289"/>
            <ac:spMk id="5" creationId="{01DD08F3-AF2A-689F-656D-453993189A5A}"/>
          </ac:spMkLst>
        </pc:spChg>
        <pc:graphicFrameChg chg="add mod">
          <ac:chgData name="Nguyễn Lê Nhật Trường" userId="b57f1783-2bfa-4d82-93dd-4655ec71c09f" providerId="ADAL" clId="{41025DA7-181F-491C-9FBD-FBB8E4B572F0}" dt="2023-06-24T09:50:54.266" v="2959" actId="20577"/>
          <ac:graphicFrameMkLst>
            <pc:docMk/>
            <pc:sldMk cId="1750260282" sldId="289"/>
            <ac:graphicFrameMk id="6" creationId="{BF9BC58E-0AAB-5ED4-18DF-6502DCE588C4}"/>
          </ac:graphicFrameMkLst>
        </pc:graphicFrameChg>
      </pc:sldChg>
      <pc:sldChg chg="add del">
        <pc:chgData name="Nguyễn Lê Nhật Trường" userId="b57f1783-2bfa-4d82-93dd-4655ec71c09f" providerId="ADAL" clId="{41025DA7-181F-491C-9FBD-FBB8E4B572F0}" dt="2023-06-24T07:50:44.975" v="1992" actId="2890"/>
        <pc:sldMkLst>
          <pc:docMk/>
          <pc:sldMk cId="391767281" sldId="290"/>
        </pc:sldMkLst>
      </pc:sldChg>
      <pc:sldChg chg="addSp delSp modSp add mod ord modClrScheme chgLayout">
        <pc:chgData name="Nguyễn Lê Nhật Trường" userId="b57f1783-2bfa-4d82-93dd-4655ec71c09f" providerId="ADAL" clId="{41025DA7-181F-491C-9FBD-FBB8E4B572F0}" dt="2023-06-24T09:44:52.330" v="2844"/>
        <pc:sldMkLst>
          <pc:docMk/>
          <pc:sldMk cId="649628822" sldId="290"/>
        </pc:sldMkLst>
        <pc:spChg chg="add mod ord">
          <ac:chgData name="Nguyễn Lê Nhật Trường" userId="b57f1783-2bfa-4d82-93dd-4655ec71c09f" providerId="ADAL" clId="{41025DA7-181F-491C-9FBD-FBB8E4B572F0}" dt="2023-06-24T09:44:09.278" v="2842" actId="20577"/>
          <ac:spMkLst>
            <pc:docMk/>
            <pc:sldMk cId="649628822" sldId="290"/>
            <ac:spMk id="2" creationId="{61802421-BBAF-FA0A-EA37-F2F4B389E3EE}"/>
          </ac:spMkLst>
        </pc:spChg>
        <pc:spChg chg="mod ord">
          <ac:chgData name="Nguyễn Lê Nhật Trường" userId="b57f1783-2bfa-4d82-93dd-4655ec71c09f" providerId="ADAL" clId="{41025DA7-181F-491C-9FBD-FBB8E4B572F0}" dt="2023-06-24T08:47:57.223" v="2463" actId="700"/>
          <ac:spMkLst>
            <pc:docMk/>
            <pc:sldMk cId="649628822" sldId="290"/>
            <ac:spMk id="3" creationId="{93408BE5-8F7E-55E3-7EE2-E11316895C59}"/>
          </ac:spMkLst>
        </pc:spChg>
        <pc:spChg chg="del">
          <ac:chgData name="Nguyễn Lê Nhật Trường" userId="b57f1783-2bfa-4d82-93dd-4655ec71c09f" providerId="ADAL" clId="{41025DA7-181F-491C-9FBD-FBB8E4B572F0}" dt="2023-06-24T08:47:51.202" v="2461" actId="478"/>
          <ac:spMkLst>
            <pc:docMk/>
            <pc:sldMk cId="649628822" sldId="290"/>
            <ac:spMk id="4" creationId="{50B981C0-E8A1-33EA-413E-2EBD8C8E39E9}"/>
          </ac:spMkLst>
        </pc:spChg>
        <pc:picChg chg="add mod modCrop">
          <ac:chgData name="Nguyễn Lê Nhật Trường" userId="b57f1783-2bfa-4d82-93dd-4655ec71c09f" providerId="ADAL" clId="{41025DA7-181F-491C-9FBD-FBB8E4B572F0}" dt="2023-06-24T09:43:35.225" v="2814" actId="1440"/>
          <ac:picMkLst>
            <pc:docMk/>
            <pc:sldMk cId="649628822" sldId="290"/>
            <ac:picMk id="6" creationId="{D3CE16FC-6E8C-2C5B-92D2-B3ADF4758AE6}"/>
          </ac:picMkLst>
        </pc:picChg>
        <pc:picChg chg="add mod modCrop">
          <ac:chgData name="Nguyễn Lê Nhật Trường" userId="b57f1783-2bfa-4d82-93dd-4655ec71c09f" providerId="ADAL" clId="{41025DA7-181F-491C-9FBD-FBB8E4B572F0}" dt="2023-06-24T09:43:48.964" v="2815" actId="108"/>
          <ac:picMkLst>
            <pc:docMk/>
            <pc:sldMk cId="649628822" sldId="290"/>
            <ac:picMk id="8" creationId="{558DEBCB-0857-C01B-E07B-1F14AE7F2655}"/>
          </ac:picMkLst>
        </pc:picChg>
      </pc:sldChg>
      <pc:sldChg chg="new del">
        <pc:chgData name="Nguyễn Lê Nhật Trường" userId="b57f1783-2bfa-4d82-93dd-4655ec71c09f" providerId="ADAL" clId="{41025DA7-181F-491C-9FBD-FBB8E4B572F0}" dt="2023-06-24T07:50:42.915" v="1990" actId="680"/>
        <pc:sldMkLst>
          <pc:docMk/>
          <pc:sldMk cId="3215698316" sldId="290"/>
        </pc:sldMkLst>
      </pc:sldChg>
      <pc:sldChg chg="modSp add mod">
        <pc:chgData name="Nguyễn Lê Nhật Trường" userId="b57f1783-2bfa-4d82-93dd-4655ec71c09f" providerId="ADAL" clId="{41025DA7-181F-491C-9FBD-FBB8E4B572F0}" dt="2023-06-24T08:09:26.639" v="2318" actId="20577"/>
        <pc:sldMkLst>
          <pc:docMk/>
          <pc:sldMk cId="246194034" sldId="291"/>
        </pc:sldMkLst>
        <pc:spChg chg="mod">
          <ac:chgData name="Nguyễn Lê Nhật Trường" userId="b57f1783-2bfa-4d82-93dd-4655ec71c09f" providerId="ADAL" clId="{41025DA7-181F-491C-9FBD-FBB8E4B572F0}" dt="2023-06-24T07:59:14.727" v="2284" actId="14100"/>
          <ac:spMkLst>
            <pc:docMk/>
            <pc:sldMk cId="246194034" sldId="291"/>
            <ac:spMk id="4" creationId="{50B981C0-E8A1-33EA-413E-2EBD8C8E39E9}"/>
          </ac:spMkLst>
        </pc:spChg>
        <pc:graphicFrameChg chg="mod">
          <ac:chgData name="Nguyễn Lê Nhật Trường" userId="b57f1783-2bfa-4d82-93dd-4655ec71c09f" providerId="ADAL" clId="{41025DA7-181F-491C-9FBD-FBB8E4B572F0}" dt="2023-06-24T08:09:26.639" v="2318" actId="20577"/>
          <ac:graphicFrameMkLst>
            <pc:docMk/>
            <pc:sldMk cId="246194034" sldId="291"/>
            <ac:graphicFrameMk id="6" creationId="{BF9BC58E-0AAB-5ED4-18DF-6502DCE588C4}"/>
          </ac:graphicFrameMkLst>
        </pc:graphicFrameChg>
      </pc:sldChg>
      <pc:sldChg chg="modSp add del modTransition">
        <pc:chgData name="Nguyễn Lê Nhật Trường" userId="b57f1783-2bfa-4d82-93dd-4655ec71c09f" providerId="ADAL" clId="{41025DA7-181F-491C-9FBD-FBB8E4B572F0}" dt="2023-06-24T08:09:46.146" v="2319" actId="47"/>
        <pc:sldMkLst>
          <pc:docMk/>
          <pc:sldMk cId="468782098" sldId="292"/>
        </pc:sldMkLst>
        <pc:graphicFrameChg chg="mod">
          <ac:chgData name="Nguyễn Lê Nhật Trường" userId="b57f1783-2bfa-4d82-93dd-4655ec71c09f" providerId="ADAL" clId="{41025DA7-181F-491C-9FBD-FBB8E4B572F0}" dt="2023-06-24T08:05:55.225" v="2288"/>
          <ac:graphicFrameMkLst>
            <pc:docMk/>
            <pc:sldMk cId="468782098" sldId="292"/>
            <ac:graphicFrameMk id="6" creationId="{BF9BC58E-0AAB-5ED4-18DF-6502DCE588C4}"/>
          </ac:graphicFrameMkLst>
        </pc:graphicFrameChg>
      </pc:sldChg>
      <pc:sldChg chg="modSp add modTransition">
        <pc:chgData name="Nguyễn Lê Nhật Trường" userId="b57f1783-2bfa-4d82-93dd-4655ec71c09f" providerId="ADAL" clId="{41025DA7-181F-491C-9FBD-FBB8E4B572F0}" dt="2023-06-24T08:11:37.588" v="2337"/>
        <pc:sldMkLst>
          <pc:docMk/>
          <pc:sldMk cId="3643086286" sldId="292"/>
        </pc:sldMkLst>
        <pc:graphicFrameChg chg="mod">
          <ac:chgData name="Nguyễn Lê Nhật Trường" userId="b57f1783-2bfa-4d82-93dd-4655ec71c09f" providerId="ADAL" clId="{41025DA7-181F-491C-9FBD-FBB8E4B572F0}" dt="2023-06-24T08:10:07.466" v="2323" actId="1582"/>
          <ac:graphicFrameMkLst>
            <pc:docMk/>
            <pc:sldMk cId="3643086286" sldId="292"/>
            <ac:graphicFrameMk id="6" creationId="{BF9BC58E-0AAB-5ED4-18DF-6502DCE588C4}"/>
          </ac:graphicFrameMkLst>
        </pc:graphicFrameChg>
      </pc:sldChg>
      <pc:sldChg chg="add del">
        <pc:chgData name="Nguyễn Lê Nhật Trường" userId="b57f1783-2bfa-4d82-93dd-4655ec71c09f" providerId="ADAL" clId="{41025DA7-181F-491C-9FBD-FBB8E4B572F0}" dt="2023-06-24T08:06:17.806" v="2291" actId="2890"/>
        <pc:sldMkLst>
          <pc:docMk/>
          <pc:sldMk cId="261334564" sldId="293"/>
        </pc:sldMkLst>
      </pc:sldChg>
      <pc:sldChg chg="add">
        <pc:chgData name="Nguyễn Lê Nhật Trường" userId="b57f1783-2bfa-4d82-93dd-4655ec71c09f" providerId="ADAL" clId="{41025DA7-181F-491C-9FBD-FBB8E4B572F0}" dt="2023-06-24T09:01:24.968" v="2715"/>
        <pc:sldMkLst>
          <pc:docMk/>
          <pc:sldMk cId="1216590162" sldId="293"/>
        </pc:sldMkLst>
      </pc:sldChg>
      <pc:sldChg chg="add del ord">
        <pc:chgData name="Nguyễn Lê Nhật Trường" userId="b57f1783-2bfa-4d82-93dd-4655ec71c09f" providerId="ADAL" clId="{41025DA7-181F-491C-9FBD-FBB8E4B572F0}" dt="2023-06-24T08:09:46.146" v="2319" actId="47"/>
        <pc:sldMkLst>
          <pc:docMk/>
          <pc:sldMk cId="2718127146" sldId="293"/>
        </pc:sldMkLst>
      </pc:sldChg>
      <pc:sldChg chg="modSp add del ord modTransition">
        <pc:chgData name="Nguyễn Lê Nhật Trường" userId="b57f1783-2bfa-4d82-93dd-4655ec71c09f" providerId="ADAL" clId="{41025DA7-181F-491C-9FBD-FBB8E4B572F0}" dt="2023-06-24T09:01:20.857" v="2714" actId="2696"/>
        <pc:sldMkLst>
          <pc:docMk/>
          <pc:sldMk cId="2934910398" sldId="293"/>
        </pc:sldMkLst>
        <pc:graphicFrameChg chg="mod">
          <ac:chgData name="Nguyễn Lê Nhật Trường" userId="b57f1783-2bfa-4d82-93dd-4655ec71c09f" providerId="ADAL" clId="{41025DA7-181F-491C-9FBD-FBB8E4B572F0}" dt="2023-06-24T08:10:53.254" v="2329" actId="1582"/>
          <ac:graphicFrameMkLst>
            <pc:docMk/>
            <pc:sldMk cId="2934910398" sldId="293"/>
            <ac:graphicFrameMk id="6" creationId="{BF9BC58E-0AAB-5ED4-18DF-6502DCE588C4}"/>
          </ac:graphicFrameMkLst>
        </pc:graphicFrameChg>
      </pc:sldChg>
      <pc:sldChg chg="modSp add del ord modTransition">
        <pc:chgData name="Nguyễn Lê Nhật Trường" userId="b57f1783-2bfa-4d82-93dd-4655ec71c09f" providerId="ADAL" clId="{41025DA7-181F-491C-9FBD-FBB8E4B572F0}" dt="2023-06-24T09:01:20.857" v="2714" actId="2696"/>
        <pc:sldMkLst>
          <pc:docMk/>
          <pc:sldMk cId="636833052" sldId="294"/>
        </pc:sldMkLst>
        <pc:graphicFrameChg chg="mod">
          <ac:chgData name="Nguyễn Lê Nhật Trường" userId="b57f1783-2bfa-4d82-93dd-4655ec71c09f" providerId="ADAL" clId="{41025DA7-181F-491C-9FBD-FBB8E4B572F0}" dt="2023-06-24T08:11:29.422" v="2336"/>
          <ac:graphicFrameMkLst>
            <pc:docMk/>
            <pc:sldMk cId="636833052" sldId="294"/>
            <ac:graphicFrameMk id="6" creationId="{BF9BC58E-0AAB-5ED4-18DF-6502DCE588C4}"/>
          </ac:graphicFrameMkLst>
        </pc:graphicFrameChg>
      </pc:sldChg>
      <pc:sldChg chg="add">
        <pc:chgData name="Nguyễn Lê Nhật Trường" userId="b57f1783-2bfa-4d82-93dd-4655ec71c09f" providerId="ADAL" clId="{41025DA7-181F-491C-9FBD-FBB8E4B572F0}" dt="2023-06-24T09:01:24.968" v="2715"/>
        <pc:sldMkLst>
          <pc:docMk/>
          <pc:sldMk cId="3440709284" sldId="294"/>
        </pc:sldMkLst>
      </pc:sldChg>
      <pc:sldChg chg="addSp delSp modSp add mod ord">
        <pc:chgData name="Nguyễn Lê Nhật Trường" userId="b57f1783-2bfa-4d82-93dd-4655ec71c09f" providerId="ADAL" clId="{41025DA7-181F-491C-9FBD-FBB8E4B572F0}" dt="2023-06-24T15:08:36.225" v="3276" actId="1035"/>
        <pc:sldMkLst>
          <pc:docMk/>
          <pc:sldMk cId="1630797547" sldId="295"/>
        </pc:sldMkLst>
        <pc:spChg chg="mod">
          <ac:chgData name="Nguyễn Lê Nhật Trường" userId="b57f1783-2bfa-4d82-93dd-4655ec71c09f" providerId="ADAL" clId="{41025DA7-181F-491C-9FBD-FBB8E4B572F0}" dt="2023-06-24T08:32:40.986" v="2418" actId="1076"/>
          <ac:spMkLst>
            <pc:docMk/>
            <pc:sldMk cId="1630797547" sldId="295"/>
            <ac:spMk id="3" creationId="{93408BE5-8F7E-55E3-7EE2-E11316895C59}"/>
          </ac:spMkLst>
        </pc:spChg>
        <pc:spChg chg="mod">
          <ac:chgData name="Nguyễn Lê Nhật Trường" userId="b57f1783-2bfa-4d82-93dd-4655ec71c09f" providerId="ADAL" clId="{41025DA7-181F-491C-9FBD-FBB8E4B572F0}" dt="2023-06-24T15:08:29.961" v="3264"/>
          <ac:spMkLst>
            <pc:docMk/>
            <pc:sldMk cId="1630797547" sldId="295"/>
            <ac:spMk id="4" creationId="{50B981C0-E8A1-33EA-413E-2EBD8C8E39E9}"/>
          </ac:spMkLst>
        </pc:spChg>
        <pc:spChg chg="add mod">
          <ac:chgData name="Nguyễn Lê Nhật Trường" userId="b57f1783-2bfa-4d82-93dd-4655ec71c09f" providerId="ADAL" clId="{41025DA7-181F-491C-9FBD-FBB8E4B572F0}" dt="2023-06-24T08:17:16.979" v="2407" actId="207"/>
          <ac:spMkLst>
            <pc:docMk/>
            <pc:sldMk cId="1630797547" sldId="295"/>
            <ac:spMk id="9" creationId="{0A3AE4CF-A11A-C08E-140C-DA8705DF5D05}"/>
          </ac:spMkLst>
        </pc:spChg>
        <pc:graphicFrameChg chg="add del">
          <ac:chgData name="Nguyễn Lê Nhật Trường" userId="b57f1783-2bfa-4d82-93dd-4655ec71c09f" providerId="ADAL" clId="{41025DA7-181F-491C-9FBD-FBB8E4B572F0}" dt="2023-06-24T09:55:08.428" v="2980" actId="478"/>
          <ac:graphicFrameMkLst>
            <pc:docMk/>
            <pc:sldMk cId="1630797547" sldId="295"/>
            <ac:graphicFrameMk id="6" creationId="{BF9BC58E-0AAB-5ED4-18DF-6502DCE588C4}"/>
          </ac:graphicFrameMkLst>
        </pc:graphicFrameChg>
        <pc:graphicFrameChg chg="add del mod">
          <ac:chgData name="Nguyễn Lê Nhật Trường" userId="b57f1783-2bfa-4d82-93dd-4655ec71c09f" providerId="ADAL" clId="{41025DA7-181F-491C-9FBD-FBB8E4B572F0}" dt="2023-06-24T09:53:23.396" v="2962"/>
          <ac:graphicFrameMkLst>
            <pc:docMk/>
            <pc:sldMk cId="1630797547" sldId="295"/>
            <ac:graphicFrameMk id="18" creationId="{F94DC821-47BD-2B58-7DB8-4C2E5CB9DDCC}"/>
          </ac:graphicFrameMkLst>
        </pc:graphicFrameChg>
        <pc:graphicFrameChg chg="add del mod">
          <ac:chgData name="Nguyễn Lê Nhật Trường" userId="b57f1783-2bfa-4d82-93dd-4655ec71c09f" providerId="ADAL" clId="{41025DA7-181F-491C-9FBD-FBB8E4B572F0}" dt="2023-06-24T09:54:10.070" v="2970"/>
          <ac:graphicFrameMkLst>
            <pc:docMk/>
            <pc:sldMk cId="1630797547" sldId="295"/>
            <ac:graphicFrameMk id="19" creationId="{22CE73A4-61F7-8D64-B1FF-3EA1ADB44948}"/>
          </ac:graphicFrameMkLst>
        </pc:graphicFrameChg>
        <pc:graphicFrameChg chg="add mod">
          <ac:chgData name="Nguyễn Lê Nhật Trường" userId="b57f1783-2bfa-4d82-93dd-4655ec71c09f" providerId="ADAL" clId="{41025DA7-181F-491C-9FBD-FBB8E4B572F0}" dt="2023-06-24T09:55:06.528" v="2979" actId="13244"/>
          <ac:graphicFrameMkLst>
            <pc:docMk/>
            <pc:sldMk cId="1630797547" sldId="295"/>
            <ac:graphicFrameMk id="20" creationId="{9BA954E4-481F-DBFE-D120-F6F3377538B5}"/>
          </ac:graphicFrameMkLst>
        </pc:graphicFrameChg>
        <pc:picChg chg="add del mod">
          <ac:chgData name="Nguyễn Lê Nhật Trường" userId="b57f1783-2bfa-4d82-93dd-4655ec71c09f" providerId="ADAL" clId="{41025DA7-181F-491C-9FBD-FBB8E4B572F0}" dt="2023-06-24T08:16:07.595" v="2355" actId="478"/>
          <ac:picMkLst>
            <pc:docMk/>
            <pc:sldMk cId="1630797547" sldId="295"/>
            <ac:picMk id="5" creationId="{310B5966-4E6B-A784-EEDC-43AECACFE9A8}"/>
          </ac:picMkLst>
        </pc:picChg>
        <pc:picChg chg="add del mod">
          <ac:chgData name="Nguyễn Lê Nhật Trường" userId="b57f1783-2bfa-4d82-93dd-4655ec71c09f" providerId="ADAL" clId="{41025DA7-181F-491C-9FBD-FBB8E4B572F0}" dt="2023-06-24T08:16:09.019" v="2356" actId="478"/>
          <ac:picMkLst>
            <pc:docMk/>
            <pc:sldMk cId="1630797547" sldId="295"/>
            <ac:picMk id="8" creationId="{60E94A1B-3B4A-C278-33A9-DB721A2BE25A}"/>
          </ac:picMkLst>
        </pc:picChg>
        <pc:picChg chg="add mod">
          <ac:chgData name="Nguyễn Lê Nhật Trường" userId="b57f1783-2bfa-4d82-93dd-4655ec71c09f" providerId="ADAL" clId="{41025DA7-181F-491C-9FBD-FBB8E4B572F0}" dt="2023-06-24T15:08:36.225" v="3276" actId="1035"/>
          <ac:picMkLst>
            <pc:docMk/>
            <pc:sldMk cId="1630797547" sldId="295"/>
            <ac:picMk id="11" creationId="{F531948D-259D-08BB-198F-99866EEA2E25}"/>
          </ac:picMkLst>
        </pc:picChg>
        <pc:picChg chg="add mod">
          <ac:chgData name="Nguyễn Lê Nhật Trường" userId="b57f1783-2bfa-4d82-93dd-4655ec71c09f" providerId="ADAL" clId="{41025DA7-181F-491C-9FBD-FBB8E4B572F0}" dt="2023-06-24T08:33:38.464" v="2427" actId="14100"/>
          <ac:picMkLst>
            <pc:docMk/>
            <pc:sldMk cId="1630797547" sldId="295"/>
            <ac:picMk id="13" creationId="{F6F784D1-285E-D21C-DCCB-295B0C9DDB37}"/>
          </ac:picMkLst>
        </pc:picChg>
        <pc:picChg chg="add mod">
          <ac:chgData name="Nguyễn Lê Nhật Trường" userId="b57f1783-2bfa-4d82-93dd-4655ec71c09f" providerId="ADAL" clId="{41025DA7-181F-491C-9FBD-FBB8E4B572F0}" dt="2023-06-24T08:33:33.848" v="2426" actId="1076"/>
          <ac:picMkLst>
            <pc:docMk/>
            <pc:sldMk cId="1630797547" sldId="295"/>
            <ac:picMk id="15" creationId="{0AC5C287-102B-1FC8-2606-0041DF5C2652}"/>
          </ac:picMkLst>
        </pc:picChg>
        <pc:picChg chg="add mod">
          <ac:chgData name="Nguyễn Lê Nhật Trường" userId="b57f1783-2bfa-4d82-93dd-4655ec71c09f" providerId="ADAL" clId="{41025DA7-181F-491C-9FBD-FBB8E4B572F0}" dt="2023-06-24T08:33:24.320" v="2424" actId="14100"/>
          <ac:picMkLst>
            <pc:docMk/>
            <pc:sldMk cId="1630797547" sldId="295"/>
            <ac:picMk id="17" creationId="{0B62D019-30F9-445B-8E55-68CA321DCDEA}"/>
          </ac:picMkLst>
        </pc:picChg>
      </pc:sldChg>
      <pc:sldChg chg="addSp delSp modSp add mod ord">
        <pc:chgData name="Nguyễn Lê Nhật Trường" userId="b57f1783-2bfa-4d82-93dd-4655ec71c09f" providerId="ADAL" clId="{41025DA7-181F-491C-9FBD-FBB8E4B572F0}" dt="2023-06-24T15:08:58.461" v="3279" actId="1036"/>
        <pc:sldMkLst>
          <pc:docMk/>
          <pc:sldMk cId="2779467389" sldId="296"/>
        </pc:sldMkLst>
        <pc:spChg chg="mod">
          <ac:chgData name="Nguyễn Lê Nhật Trường" userId="b57f1783-2bfa-4d82-93dd-4655ec71c09f" providerId="ADAL" clId="{41025DA7-181F-491C-9FBD-FBB8E4B572F0}" dt="2023-06-24T15:08:55.606" v="3277"/>
          <ac:spMkLst>
            <pc:docMk/>
            <pc:sldMk cId="2779467389" sldId="296"/>
            <ac:spMk id="4" creationId="{50B981C0-E8A1-33EA-413E-2EBD8C8E39E9}"/>
          </ac:spMkLst>
        </pc:spChg>
        <pc:graphicFrameChg chg="add del mod">
          <ac:chgData name="Nguyễn Lê Nhật Trường" userId="b57f1783-2bfa-4d82-93dd-4655ec71c09f" providerId="ADAL" clId="{41025DA7-181F-491C-9FBD-FBB8E4B572F0}" dt="2023-06-24T09:54:07.314" v="2969"/>
          <ac:graphicFrameMkLst>
            <pc:docMk/>
            <pc:sldMk cId="2779467389" sldId="296"/>
            <ac:graphicFrameMk id="2" creationId="{1029BBF8-3C7B-7E35-F8F9-36DA5FA41087}"/>
          </ac:graphicFrameMkLst>
        </pc:graphicFrameChg>
        <pc:graphicFrameChg chg="add mod">
          <ac:chgData name="Nguyễn Lê Nhật Trường" userId="b57f1783-2bfa-4d82-93dd-4655ec71c09f" providerId="ADAL" clId="{41025DA7-181F-491C-9FBD-FBB8E4B572F0}" dt="2023-06-24T09:55:28.939" v="2986" actId="13244"/>
          <ac:graphicFrameMkLst>
            <pc:docMk/>
            <pc:sldMk cId="2779467389" sldId="296"/>
            <ac:graphicFrameMk id="5" creationId="{4157D87B-8215-9641-C933-4210E475FE4F}"/>
          </ac:graphicFrameMkLst>
        </pc:graphicFrameChg>
        <pc:graphicFrameChg chg="add del">
          <ac:chgData name="Nguyễn Lê Nhật Trường" userId="b57f1783-2bfa-4d82-93dd-4655ec71c09f" providerId="ADAL" clId="{41025DA7-181F-491C-9FBD-FBB8E4B572F0}" dt="2023-06-24T09:55:30.563" v="2987" actId="478"/>
          <ac:graphicFrameMkLst>
            <pc:docMk/>
            <pc:sldMk cId="2779467389" sldId="296"/>
            <ac:graphicFrameMk id="6" creationId="{BF9BC58E-0AAB-5ED4-18DF-6502DCE588C4}"/>
          </ac:graphicFrameMkLst>
        </pc:graphicFrameChg>
        <pc:picChg chg="mod">
          <ac:chgData name="Nguyễn Lê Nhật Trường" userId="b57f1783-2bfa-4d82-93dd-4655ec71c09f" providerId="ADAL" clId="{41025DA7-181F-491C-9FBD-FBB8E4B572F0}" dt="2023-06-24T08:34:31.609" v="2432" actId="1076"/>
          <ac:picMkLst>
            <pc:docMk/>
            <pc:sldMk cId="2779467389" sldId="296"/>
            <ac:picMk id="11" creationId="{F531948D-259D-08BB-198F-99866EEA2E25}"/>
          </ac:picMkLst>
        </pc:picChg>
        <pc:picChg chg="mod">
          <ac:chgData name="Nguyễn Lê Nhật Trường" userId="b57f1783-2bfa-4d82-93dd-4655ec71c09f" providerId="ADAL" clId="{41025DA7-181F-491C-9FBD-FBB8E4B572F0}" dt="2023-06-24T15:08:58.461" v="3279" actId="1036"/>
          <ac:picMkLst>
            <pc:docMk/>
            <pc:sldMk cId="2779467389" sldId="296"/>
            <ac:picMk id="13" creationId="{F6F784D1-285E-D21C-DCCB-295B0C9DDB37}"/>
          </ac:picMkLst>
        </pc:picChg>
      </pc:sldChg>
      <pc:sldChg chg="addSp delSp modSp add mod ord">
        <pc:chgData name="Nguyễn Lê Nhật Trường" userId="b57f1783-2bfa-4d82-93dd-4655ec71c09f" providerId="ADAL" clId="{41025DA7-181F-491C-9FBD-FBB8E4B572F0}" dt="2023-06-24T15:09:02.009" v="3280"/>
        <pc:sldMkLst>
          <pc:docMk/>
          <pc:sldMk cId="4270411365" sldId="297"/>
        </pc:sldMkLst>
        <pc:spChg chg="mod">
          <ac:chgData name="Nguyễn Lê Nhật Trường" userId="b57f1783-2bfa-4d82-93dd-4655ec71c09f" providerId="ADAL" clId="{41025DA7-181F-491C-9FBD-FBB8E4B572F0}" dt="2023-06-24T15:09:02.009" v="3280"/>
          <ac:spMkLst>
            <pc:docMk/>
            <pc:sldMk cId="4270411365" sldId="297"/>
            <ac:spMk id="4" creationId="{50B981C0-E8A1-33EA-413E-2EBD8C8E39E9}"/>
          </ac:spMkLst>
        </pc:spChg>
        <pc:spChg chg="mod">
          <ac:chgData name="Nguyễn Lê Nhật Trường" userId="b57f1783-2bfa-4d82-93dd-4655ec71c09f" providerId="ADAL" clId="{41025DA7-181F-491C-9FBD-FBB8E4B572F0}" dt="2023-06-24T08:35:38.751" v="2443" actId="1076"/>
          <ac:spMkLst>
            <pc:docMk/>
            <pc:sldMk cId="4270411365" sldId="297"/>
            <ac:spMk id="9" creationId="{0A3AE4CF-A11A-C08E-140C-DA8705DF5D05}"/>
          </ac:spMkLst>
        </pc:spChg>
        <pc:graphicFrameChg chg="add mod">
          <ac:chgData name="Nguyễn Lê Nhật Trường" userId="b57f1783-2bfa-4d82-93dd-4655ec71c09f" providerId="ADAL" clId="{41025DA7-181F-491C-9FBD-FBB8E4B572F0}" dt="2023-06-24T09:55:50.467" v="2991" actId="13244"/>
          <ac:graphicFrameMkLst>
            <pc:docMk/>
            <pc:sldMk cId="4270411365" sldId="297"/>
            <ac:graphicFrameMk id="2" creationId="{C2049B7B-97FE-E4B2-3E59-3DF34E1EF673}"/>
          </ac:graphicFrameMkLst>
        </pc:graphicFrameChg>
        <pc:graphicFrameChg chg="del">
          <ac:chgData name="Nguyễn Lê Nhật Trường" userId="b57f1783-2bfa-4d82-93dd-4655ec71c09f" providerId="ADAL" clId="{41025DA7-181F-491C-9FBD-FBB8E4B572F0}" dt="2023-06-24T09:55:52.207" v="2992" actId="478"/>
          <ac:graphicFrameMkLst>
            <pc:docMk/>
            <pc:sldMk cId="4270411365" sldId="297"/>
            <ac:graphicFrameMk id="6" creationId="{BF9BC58E-0AAB-5ED4-18DF-6502DCE588C4}"/>
          </ac:graphicFrameMkLst>
        </pc:graphicFrameChg>
        <pc:picChg chg="mod">
          <ac:chgData name="Nguyễn Lê Nhật Trường" userId="b57f1783-2bfa-4d82-93dd-4655ec71c09f" providerId="ADAL" clId="{41025DA7-181F-491C-9FBD-FBB8E4B572F0}" dt="2023-06-24T08:35:27.352" v="2439" actId="1076"/>
          <ac:picMkLst>
            <pc:docMk/>
            <pc:sldMk cId="4270411365" sldId="297"/>
            <ac:picMk id="13" creationId="{F6F784D1-285E-D21C-DCCB-295B0C9DDB37}"/>
          </ac:picMkLst>
        </pc:picChg>
        <pc:picChg chg="mod">
          <ac:chgData name="Nguyễn Lê Nhật Trường" userId="b57f1783-2bfa-4d82-93dd-4655ec71c09f" providerId="ADAL" clId="{41025DA7-181F-491C-9FBD-FBB8E4B572F0}" dt="2023-06-24T08:43:18.190" v="2459" actId="208"/>
          <ac:picMkLst>
            <pc:docMk/>
            <pc:sldMk cId="4270411365" sldId="297"/>
            <ac:picMk id="15" creationId="{0AC5C287-102B-1FC8-2606-0041DF5C2652}"/>
          </ac:picMkLst>
        </pc:picChg>
      </pc:sldChg>
      <pc:sldChg chg="addSp delSp modSp add mod ord">
        <pc:chgData name="Nguyễn Lê Nhật Trường" userId="b57f1783-2bfa-4d82-93dd-4655ec71c09f" providerId="ADAL" clId="{41025DA7-181F-491C-9FBD-FBB8E4B572F0}" dt="2023-06-24T15:09:07.276" v="3281"/>
        <pc:sldMkLst>
          <pc:docMk/>
          <pc:sldMk cId="4008750275" sldId="298"/>
        </pc:sldMkLst>
        <pc:spChg chg="mod">
          <ac:chgData name="Nguyễn Lê Nhật Trường" userId="b57f1783-2bfa-4d82-93dd-4655ec71c09f" providerId="ADAL" clId="{41025DA7-181F-491C-9FBD-FBB8E4B572F0}" dt="2023-06-24T15:09:07.276" v="3281"/>
          <ac:spMkLst>
            <pc:docMk/>
            <pc:sldMk cId="4008750275" sldId="298"/>
            <ac:spMk id="4" creationId="{50B981C0-E8A1-33EA-413E-2EBD8C8E39E9}"/>
          </ac:spMkLst>
        </pc:spChg>
        <pc:graphicFrameChg chg="add mod">
          <ac:chgData name="Nguyễn Lê Nhật Trường" userId="b57f1783-2bfa-4d82-93dd-4655ec71c09f" providerId="ADAL" clId="{41025DA7-181F-491C-9FBD-FBB8E4B572F0}" dt="2023-06-24T09:56:02.868" v="2996" actId="13244"/>
          <ac:graphicFrameMkLst>
            <pc:docMk/>
            <pc:sldMk cId="4008750275" sldId="298"/>
            <ac:graphicFrameMk id="2" creationId="{EDD1CCB5-17AE-804B-BEC6-EF57C238A573}"/>
          </ac:graphicFrameMkLst>
        </pc:graphicFrameChg>
        <pc:graphicFrameChg chg="del">
          <ac:chgData name="Nguyễn Lê Nhật Trường" userId="b57f1783-2bfa-4d82-93dd-4655ec71c09f" providerId="ADAL" clId="{41025DA7-181F-491C-9FBD-FBB8E4B572F0}" dt="2023-06-24T09:56:05.050" v="2997" actId="478"/>
          <ac:graphicFrameMkLst>
            <pc:docMk/>
            <pc:sldMk cId="4008750275" sldId="298"/>
            <ac:graphicFrameMk id="6" creationId="{BF9BC58E-0AAB-5ED4-18DF-6502DCE588C4}"/>
          </ac:graphicFrameMkLst>
        </pc:graphicFrameChg>
        <pc:picChg chg="mod">
          <ac:chgData name="Nguyễn Lê Nhật Trường" userId="b57f1783-2bfa-4d82-93dd-4655ec71c09f" providerId="ADAL" clId="{41025DA7-181F-491C-9FBD-FBB8E4B572F0}" dt="2023-06-24T08:36:33.581" v="2453" actId="1076"/>
          <ac:picMkLst>
            <pc:docMk/>
            <pc:sldMk cId="4008750275" sldId="298"/>
            <ac:picMk id="15" creationId="{0AC5C287-102B-1FC8-2606-0041DF5C2652}"/>
          </ac:picMkLst>
        </pc:picChg>
        <pc:picChg chg="mod">
          <ac:chgData name="Nguyễn Lê Nhật Trường" userId="b57f1783-2bfa-4d82-93dd-4655ec71c09f" providerId="ADAL" clId="{41025DA7-181F-491C-9FBD-FBB8E4B572F0}" dt="2023-06-24T08:43:22.359" v="2460" actId="208"/>
          <ac:picMkLst>
            <pc:docMk/>
            <pc:sldMk cId="4008750275" sldId="298"/>
            <ac:picMk id="17" creationId="{0B62D019-30F9-445B-8E55-68CA321DCDEA}"/>
          </ac:picMkLst>
        </pc:picChg>
      </pc:sldChg>
      <pc:sldChg chg="addSp delSp modSp add mod modAnim">
        <pc:chgData name="Nguyễn Lê Nhật Trường" userId="b57f1783-2bfa-4d82-93dd-4655ec71c09f" providerId="ADAL" clId="{41025DA7-181F-491C-9FBD-FBB8E4B572F0}" dt="2023-06-26T04:08:57.809" v="5079"/>
        <pc:sldMkLst>
          <pc:docMk/>
          <pc:sldMk cId="3858475848" sldId="299"/>
        </pc:sldMkLst>
        <pc:spChg chg="add mod">
          <ac:chgData name="Nguyễn Lê Nhật Trường" userId="b57f1783-2bfa-4d82-93dd-4655ec71c09f" providerId="ADAL" clId="{41025DA7-181F-491C-9FBD-FBB8E4B572F0}" dt="2023-06-24T09:35:32.691" v="2766" actId="1076"/>
          <ac:spMkLst>
            <pc:docMk/>
            <pc:sldMk cId="3858475848" sldId="299"/>
            <ac:spMk id="5" creationId="{4EDF4FE9-049A-4C69-20E6-9CD48D41CB3E}"/>
          </ac:spMkLst>
        </pc:spChg>
        <pc:graphicFrameChg chg="del">
          <ac:chgData name="Nguyễn Lê Nhật Trường" userId="b57f1783-2bfa-4d82-93dd-4655ec71c09f" providerId="ADAL" clId="{41025DA7-181F-491C-9FBD-FBB8E4B572F0}" dt="2023-06-24T09:30:25.666" v="2719" actId="478"/>
          <ac:graphicFrameMkLst>
            <pc:docMk/>
            <pc:sldMk cId="3858475848" sldId="299"/>
            <ac:graphicFrameMk id="6" creationId="{BF9BC58E-0AAB-5ED4-18DF-6502DCE588C4}"/>
          </ac:graphicFrameMkLst>
        </pc:graphicFrameChg>
        <pc:picChg chg="add mod">
          <ac:chgData name="Nguyễn Lê Nhật Trường" userId="b57f1783-2bfa-4d82-93dd-4655ec71c09f" providerId="ADAL" clId="{41025DA7-181F-491C-9FBD-FBB8E4B572F0}" dt="2023-06-26T03:52:17.445" v="5047"/>
          <ac:picMkLst>
            <pc:docMk/>
            <pc:sldMk cId="3858475848" sldId="299"/>
            <ac:picMk id="2" creationId="{69ECD3BD-511F-7A07-E29C-14255D015334}"/>
          </ac:picMkLst>
        </pc:picChg>
      </pc:sldChg>
      <pc:sldChg chg="new del">
        <pc:chgData name="Nguyễn Lê Nhật Trường" userId="b57f1783-2bfa-4d82-93dd-4655ec71c09f" providerId="ADAL" clId="{41025DA7-181F-491C-9FBD-FBB8E4B572F0}" dt="2023-06-24T09:30:19.648" v="2717" actId="680"/>
        <pc:sldMkLst>
          <pc:docMk/>
          <pc:sldMk cId="3982054380" sldId="299"/>
        </pc:sldMkLst>
      </pc:sldChg>
      <pc:sldChg chg="addSp delSp modSp add mod delAnim modAnim">
        <pc:chgData name="Nguyễn Lê Nhật Trường" userId="b57f1783-2bfa-4d82-93dd-4655ec71c09f" providerId="ADAL" clId="{41025DA7-181F-491C-9FBD-FBB8E4B572F0}" dt="2023-06-26T04:05:36.895" v="5077"/>
        <pc:sldMkLst>
          <pc:docMk/>
          <pc:sldMk cId="1079040015" sldId="300"/>
        </pc:sldMkLst>
        <pc:spChg chg="add mod">
          <ac:chgData name="Nguyễn Lê Nhật Trường" userId="b57f1783-2bfa-4d82-93dd-4655ec71c09f" providerId="ADAL" clId="{41025DA7-181F-491C-9FBD-FBB8E4B572F0}" dt="2023-06-24T09:34:56.398" v="2761" actId="1076"/>
          <ac:spMkLst>
            <pc:docMk/>
            <pc:sldMk cId="1079040015" sldId="300"/>
            <ac:spMk id="6" creationId="{D67B34E6-78E9-CBB4-E373-20A014101100}"/>
          </ac:spMkLst>
        </pc:spChg>
        <pc:picChg chg="del">
          <ac:chgData name="Nguyễn Lê Nhật Trường" userId="b57f1783-2bfa-4d82-93dd-4655ec71c09f" providerId="ADAL" clId="{41025DA7-181F-491C-9FBD-FBB8E4B572F0}" dt="2023-06-24T09:32:12.037" v="2723" actId="478"/>
          <ac:picMkLst>
            <pc:docMk/>
            <pc:sldMk cId="1079040015" sldId="300"/>
            <ac:picMk id="2" creationId="{69ECD3BD-511F-7A07-E29C-14255D015334}"/>
          </ac:picMkLst>
        </pc:picChg>
        <pc:picChg chg="add mod">
          <ac:chgData name="Nguyễn Lê Nhật Trường" userId="b57f1783-2bfa-4d82-93dd-4655ec71c09f" providerId="ADAL" clId="{41025DA7-181F-491C-9FBD-FBB8E4B572F0}" dt="2023-06-26T04:05:36.895" v="5077"/>
          <ac:picMkLst>
            <pc:docMk/>
            <pc:sldMk cId="1079040015" sldId="300"/>
            <ac:picMk id="5" creationId="{1E2C4D27-8123-207A-67D9-4DCBEE309439}"/>
          </ac:picMkLst>
        </pc:picChg>
      </pc:sldChg>
      <pc:sldChg chg="addSp delSp modSp add mod">
        <pc:chgData name="Nguyễn Lê Nhật Trường" userId="b57f1783-2bfa-4d82-93dd-4655ec71c09f" providerId="ADAL" clId="{41025DA7-181F-491C-9FBD-FBB8E4B572F0}" dt="2023-06-24T09:46:56.154" v="2855" actId="14100"/>
        <pc:sldMkLst>
          <pc:docMk/>
          <pc:sldMk cId="2192473767" sldId="301"/>
        </pc:sldMkLst>
        <pc:picChg chg="add del">
          <ac:chgData name="Nguyễn Lê Nhật Trường" userId="b57f1783-2bfa-4d82-93dd-4655ec71c09f" providerId="ADAL" clId="{41025DA7-181F-491C-9FBD-FBB8E4B572F0}" dt="2023-06-24T09:45:43.877" v="2847" actId="22"/>
          <ac:picMkLst>
            <pc:docMk/>
            <pc:sldMk cId="2192473767" sldId="301"/>
            <ac:picMk id="5" creationId="{308B89A2-F19B-4C03-A50F-83F10113CF18}"/>
          </ac:picMkLst>
        </pc:picChg>
        <pc:picChg chg="mod modCrop">
          <ac:chgData name="Nguyễn Lê Nhật Trường" userId="b57f1783-2bfa-4d82-93dd-4655ec71c09f" providerId="ADAL" clId="{41025DA7-181F-491C-9FBD-FBB8E4B572F0}" dt="2023-06-24T09:46:52.376" v="2854" actId="14100"/>
          <ac:picMkLst>
            <pc:docMk/>
            <pc:sldMk cId="2192473767" sldId="301"/>
            <ac:picMk id="6" creationId="{D3CE16FC-6E8C-2C5B-92D2-B3ADF4758AE6}"/>
          </ac:picMkLst>
        </pc:picChg>
        <pc:picChg chg="mod modCrop">
          <ac:chgData name="Nguyễn Lê Nhật Trường" userId="b57f1783-2bfa-4d82-93dd-4655ec71c09f" providerId="ADAL" clId="{41025DA7-181F-491C-9FBD-FBB8E4B572F0}" dt="2023-06-24T09:46:56.154" v="2855" actId="14100"/>
          <ac:picMkLst>
            <pc:docMk/>
            <pc:sldMk cId="2192473767" sldId="301"/>
            <ac:picMk id="8" creationId="{558DEBCB-0857-C01B-E07B-1F14AE7F2655}"/>
          </ac:picMkLst>
        </pc:picChg>
      </pc:sldChg>
      <pc:sldChg chg="addSp delSp modSp add mod">
        <pc:chgData name="Nguyễn Lê Nhật Trường" userId="b57f1783-2bfa-4d82-93dd-4655ec71c09f" providerId="ADAL" clId="{41025DA7-181F-491C-9FBD-FBB8E4B572F0}" dt="2023-06-24T09:50:11.695" v="2957" actId="20577"/>
        <pc:sldMkLst>
          <pc:docMk/>
          <pc:sldMk cId="1177327310" sldId="302"/>
        </pc:sldMkLst>
        <pc:spChg chg="mod">
          <ac:chgData name="Nguyễn Lê Nhật Trường" userId="b57f1783-2bfa-4d82-93dd-4655ec71c09f" providerId="ADAL" clId="{41025DA7-181F-491C-9FBD-FBB8E4B572F0}" dt="2023-06-24T09:50:11.695" v="2957" actId="20577"/>
          <ac:spMkLst>
            <pc:docMk/>
            <pc:sldMk cId="1177327310" sldId="302"/>
            <ac:spMk id="2" creationId="{61802421-BBAF-FA0A-EA37-F2F4B389E3EE}"/>
          </ac:spMkLst>
        </pc:spChg>
        <pc:picChg chg="add mod">
          <ac:chgData name="Nguyễn Lê Nhật Trường" userId="b57f1783-2bfa-4d82-93dd-4655ec71c09f" providerId="ADAL" clId="{41025DA7-181F-491C-9FBD-FBB8E4B572F0}" dt="2023-06-24T09:49:38.121" v="2949" actId="1076"/>
          <ac:picMkLst>
            <pc:docMk/>
            <pc:sldMk cId="1177327310" sldId="302"/>
            <ac:picMk id="4" creationId="{ADD2E7DF-538B-5100-F7E0-8BC60F38F528}"/>
          </ac:picMkLst>
        </pc:picChg>
        <pc:picChg chg="add mod">
          <ac:chgData name="Nguyễn Lê Nhật Trường" userId="b57f1783-2bfa-4d82-93dd-4655ec71c09f" providerId="ADAL" clId="{41025DA7-181F-491C-9FBD-FBB8E4B572F0}" dt="2023-06-24T09:50:04.975" v="2956" actId="14100"/>
          <ac:picMkLst>
            <pc:docMk/>
            <pc:sldMk cId="1177327310" sldId="302"/>
            <ac:picMk id="5" creationId="{2976DA4C-D728-1D7D-EA74-35E22B8941F7}"/>
          </ac:picMkLst>
        </pc:picChg>
        <pc:picChg chg="del">
          <ac:chgData name="Nguyễn Lê Nhật Trường" userId="b57f1783-2bfa-4d82-93dd-4655ec71c09f" providerId="ADAL" clId="{41025DA7-181F-491C-9FBD-FBB8E4B572F0}" dt="2023-06-24T09:47:41.236" v="2857" actId="478"/>
          <ac:picMkLst>
            <pc:docMk/>
            <pc:sldMk cId="1177327310" sldId="302"/>
            <ac:picMk id="6" creationId="{D3CE16FC-6E8C-2C5B-92D2-B3ADF4758AE6}"/>
          </ac:picMkLst>
        </pc:picChg>
        <pc:picChg chg="del">
          <ac:chgData name="Nguyễn Lê Nhật Trường" userId="b57f1783-2bfa-4d82-93dd-4655ec71c09f" providerId="ADAL" clId="{41025DA7-181F-491C-9FBD-FBB8E4B572F0}" dt="2023-06-24T09:47:42.249" v="2858" actId="478"/>
          <ac:picMkLst>
            <pc:docMk/>
            <pc:sldMk cId="1177327310" sldId="302"/>
            <ac:picMk id="8" creationId="{558DEBCB-0857-C01B-E07B-1F14AE7F2655}"/>
          </ac:picMkLst>
        </pc:picChg>
      </pc:sldChg>
      <pc:sldChg chg="modSp add ord">
        <pc:chgData name="Nguyễn Lê Nhật Trường" userId="b57f1783-2bfa-4d82-93dd-4655ec71c09f" providerId="ADAL" clId="{41025DA7-181F-491C-9FBD-FBB8E4B572F0}" dt="2023-06-24T09:54:42.871" v="2977"/>
        <pc:sldMkLst>
          <pc:docMk/>
          <pc:sldMk cId="910717545" sldId="303"/>
        </pc:sldMkLst>
        <pc:graphicFrameChg chg="mod">
          <ac:chgData name="Nguyễn Lê Nhật Trường" userId="b57f1783-2bfa-4d82-93dd-4655ec71c09f" providerId="ADAL" clId="{41025DA7-181F-491C-9FBD-FBB8E4B572F0}" dt="2023-06-24T09:54:42.871" v="2977"/>
          <ac:graphicFrameMkLst>
            <pc:docMk/>
            <pc:sldMk cId="910717545" sldId="303"/>
            <ac:graphicFrameMk id="6" creationId="{BF9BC58E-0AAB-5ED4-18DF-6502DCE588C4}"/>
          </ac:graphicFrameMkLst>
        </pc:graphicFrameChg>
      </pc:sldChg>
      <pc:sldChg chg="addSp delSp modSp add del mod ord">
        <pc:chgData name="Nguyễn Lê Nhật Trường" userId="b57f1783-2bfa-4d82-93dd-4655ec71c09f" providerId="ADAL" clId="{41025DA7-181F-491C-9FBD-FBB8E4B572F0}" dt="2023-06-25T17:28:00.290" v="3903" actId="47"/>
        <pc:sldMkLst>
          <pc:docMk/>
          <pc:sldMk cId="1539791822" sldId="304"/>
        </pc:sldMkLst>
        <pc:spChg chg="mod">
          <ac:chgData name="Nguyễn Lê Nhật Trường" userId="b57f1783-2bfa-4d82-93dd-4655ec71c09f" providerId="ADAL" clId="{41025DA7-181F-491C-9FBD-FBB8E4B572F0}" dt="2023-06-25T07:41:48.541" v="3762" actId="2710"/>
          <ac:spMkLst>
            <pc:docMk/>
            <pc:sldMk cId="1539791822" sldId="304"/>
            <ac:spMk id="2" creationId="{61802421-BBAF-FA0A-EA37-F2F4B389E3EE}"/>
          </ac:spMkLst>
        </pc:spChg>
        <pc:spChg chg="add del mod">
          <ac:chgData name="Nguyễn Lê Nhật Trường" userId="b57f1783-2bfa-4d82-93dd-4655ec71c09f" providerId="ADAL" clId="{41025DA7-181F-491C-9FBD-FBB8E4B572F0}" dt="2023-06-25T07:40:24.974" v="3703" actId="478"/>
          <ac:spMkLst>
            <pc:docMk/>
            <pc:sldMk cId="1539791822" sldId="304"/>
            <ac:spMk id="6" creationId="{27D871B0-F563-8A61-343A-D0E04AA3560A}"/>
          </ac:spMkLst>
        </pc:spChg>
        <pc:picChg chg="del">
          <ac:chgData name="Nguyễn Lê Nhật Trường" userId="b57f1783-2bfa-4d82-93dd-4655ec71c09f" providerId="ADAL" clId="{41025DA7-181F-491C-9FBD-FBB8E4B572F0}" dt="2023-06-24T09:56:29.712" v="2999" actId="478"/>
          <ac:picMkLst>
            <pc:docMk/>
            <pc:sldMk cId="1539791822" sldId="304"/>
            <ac:picMk id="4" creationId="{ADD2E7DF-538B-5100-F7E0-8BC60F38F528}"/>
          </ac:picMkLst>
        </pc:picChg>
        <pc:picChg chg="del">
          <ac:chgData name="Nguyễn Lê Nhật Trường" userId="b57f1783-2bfa-4d82-93dd-4655ec71c09f" providerId="ADAL" clId="{41025DA7-181F-491C-9FBD-FBB8E4B572F0}" dt="2023-06-24T09:56:32.221" v="3000" actId="478"/>
          <ac:picMkLst>
            <pc:docMk/>
            <pc:sldMk cId="1539791822" sldId="304"/>
            <ac:picMk id="5" creationId="{2976DA4C-D728-1D7D-EA74-35E22B8941F7}"/>
          </ac:picMkLst>
        </pc:picChg>
        <pc:picChg chg="add del mod">
          <ac:chgData name="Nguyễn Lê Nhật Trường" userId="b57f1783-2bfa-4d82-93dd-4655ec71c09f" providerId="ADAL" clId="{41025DA7-181F-491C-9FBD-FBB8E4B572F0}" dt="2023-06-25T07:40:23.278" v="3702" actId="478"/>
          <ac:picMkLst>
            <pc:docMk/>
            <pc:sldMk cId="1539791822" sldId="304"/>
            <ac:picMk id="7" creationId="{E0996F28-595A-E0D4-A4CC-C167A1F5093D}"/>
          </ac:picMkLst>
        </pc:picChg>
      </pc:sldChg>
      <pc:sldChg chg="addSp delSp modSp add mod">
        <pc:chgData name="Nguyễn Lê Nhật Trường" userId="b57f1783-2bfa-4d82-93dd-4655ec71c09f" providerId="ADAL" clId="{41025DA7-181F-491C-9FBD-FBB8E4B572F0}" dt="2023-06-24T10:13:00.015" v="3167" actId="14100"/>
        <pc:sldMkLst>
          <pc:docMk/>
          <pc:sldMk cId="1716689489" sldId="305"/>
        </pc:sldMkLst>
        <pc:graphicFrameChg chg="del">
          <ac:chgData name="Nguyễn Lê Nhật Trường" userId="b57f1783-2bfa-4d82-93dd-4655ec71c09f" providerId="ADAL" clId="{41025DA7-181F-491C-9FBD-FBB8E4B572F0}" dt="2023-06-24T10:03:42.668" v="3127" actId="478"/>
          <ac:graphicFrameMkLst>
            <pc:docMk/>
            <pc:sldMk cId="1716689489" sldId="305"/>
            <ac:graphicFrameMk id="6" creationId="{BF9BC58E-0AAB-5ED4-18DF-6502DCE588C4}"/>
          </ac:graphicFrameMkLst>
        </pc:graphicFrameChg>
        <pc:picChg chg="add del mod">
          <ac:chgData name="Nguyễn Lê Nhật Trường" userId="b57f1783-2bfa-4d82-93dd-4655ec71c09f" providerId="ADAL" clId="{41025DA7-181F-491C-9FBD-FBB8E4B572F0}" dt="2023-06-24T10:10:00.938" v="3136" actId="478"/>
          <ac:picMkLst>
            <pc:docMk/>
            <pc:sldMk cId="1716689489" sldId="305"/>
            <ac:picMk id="5" creationId="{D3956E79-CBB1-98B1-16AC-C20CE653052D}"/>
          </ac:picMkLst>
        </pc:picChg>
        <pc:picChg chg="add del">
          <ac:chgData name="Nguyễn Lê Nhật Trường" userId="b57f1783-2bfa-4d82-93dd-4655ec71c09f" providerId="ADAL" clId="{41025DA7-181F-491C-9FBD-FBB8E4B572F0}" dt="2023-06-24T10:08:11.738" v="3132" actId="22"/>
          <ac:picMkLst>
            <pc:docMk/>
            <pc:sldMk cId="1716689489" sldId="305"/>
            <ac:picMk id="8" creationId="{3F3A1291-7538-7985-022A-BEFA0518808F}"/>
          </ac:picMkLst>
        </pc:picChg>
        <pc:picChg chg="add mod">
          <ac:chgData name="Nguyễn Lê Nhật Trường" userId="b57f1783-2bfa-4d82-93dd-4655ec71c09f" providerId="ADAL" clId="{41025DA7-181F-491C-9FBD-FBB8E4B572F0}" dt="2023-06-24T10:11:40.344" v="3153" actId="1076"/>
          <ac:picMkLst>
            <pc:docMk/>
            <pc:sldMk cId="1716689489" sldId="305"/>
            <ac:picMk id="10" creationId="{33728994-25DD-219B-9149-6F37F24912DF}"/>
          </ac:picMkLst>
        </pc:picChg>
        <pc:picChg chg="add mod">
          <ac:chgData name="Nguyễn Lê Nhật Trường" userId="b57f1783-2bfa-4d82-93dd-4655ec71c09f" providerId="ADAL" clId="{41025DA7-181F-491C-9FBD-FBB8E4B572F0}" dt="2023-06-24T10:11:56.527" v="3156" actId="1076"/>
          <ac:picMkLst>
            <pc:docMk/>
            <pc:sldMk cId="1716689489" sldId="305"/>
            <ac:picMk id="12" creationId="{776C20A4-A1E5-F92B-7744-4CD8EB7BBE56}"/>
          </ac:picMkLst>
        </pc:picChg>
        <pc:cxnChg chg="add mod">
          <ac:chgData name="Nguyễn Lê Nhật Trường" userId="b57f1783-2bfa-4d82-93dd-4655ec71c09f" providerId="ADAL" clId="{41025DA7-181F-491C-9FBD-FBB8E4B572F0}" dt="2023-06-24T10:13:00.015" v="3167" actId="14100"/>
          <ac:cxnSpMkLst>
            <pc:docMk/>
            <pc:sldMk cId="1716689489" sldId="305"/>
            <ac:cxnSpMk id="14" creationId="{A653FB85-02F0-CDCC-E079-355B5724135C}"/>
          </ac:cxnSpMkLst>
        </pc:cxnChg>
        <pc:cxnChg chg="add mod">
          <ac:chgData name="Nguyễn Lê Nhật Trường" userId="b57f1783-2bfa-4d82-93dd-4655ec71c09f" providerId="ADAL" clId="{41025DA7-181F-491C-9FBD-FBB8E4B572F0}" dt="2023-06-24T10:12:38.673" v="3164" actId="14100"/>
          <ac:cxnSpMkLst>
            <pc:docMk/>
            <pc:sldMk cId="1716689489" sldId="305"/>
            <ac:cxnSpMk id="15" creationId="{E9AE21DD-9D21-EBD3-8360-43777B6B36A7}"/>
          </ac:cxnSpMkLst>
        </pc:cxnChg>
        <pc:cxnChg chg="add mod">
          <ac:chgData name="Nguyễn Lê Nhật Trường" userId="b57f1783-2bfa-4d82-93dd-4655ec71c09f" providerId="ADAL" clId="{41025DA7-181F-491C-9FBD-FBB8E4B572F0}" dt="2023-06-24T10:12:33.210" v="3163" actId="14100"/>
          <ac:cxnSpMkLst>
            <pc:docMk/>
            <pc:sldMk cId="1716689489" sldId="305"/>
            <ac:cxnSpMk id="18" creationId="{157D0507-7A21-39C9-50A1-1856336B6B62}"/>
          </ac:cxnSpMkLst>
        </pc:cxnChg>
        <pc:cxnChg chg="add mod">
          <ac:chgData name="Nguyễn Lê Nhật Trường" userId="b57f1783-2bfa-4d82-93dd-4655ec71c09f" providerId="ADAL" clId="{41025DA7-181F-491C-9FBD-FBB8E4B572F0}" dt="2023-06-24T10:12:21.849" v="3161" actId="14100"/>
          <ac:cxnSpMkLst>
            <pc:docMk/>
            <pc:sldMk cId="1716689489" sldId="305"/>
            <ac:cxnSpMk id="21" creationId="{ECFE5081-7501-A8C7-611C-7BB017103C30}"/>
          </ac:cxnSpMkLst>
        </pc:cxnChg>
      </pc:sldChg>
      <pc:sldChg chg="addSp delSp modSp add mod">
        <pc:chgData name="Nguyễn Lê Nhật Trường" userId="b57f1783-2bfa-4d82-93dd-4655ec71c09f" providerId="ADAL" clId="{41025DA7-181F-491C-9FBD-FBB8E4B572F0}" dt="2023-06-24T10:17:48.090" v="3228" actId="732"/>
        <pc:sldMkLst>
          <pc:docMk/>
          <pc:sldMk cId="1295893184" sldId="306"/>
        </pc:sldMkLst>
        <pc:picChg chg="add mod ord modCrop">
          <ac:chgData name="Nguyễn Lê Nhật Trường" userId="b57f1783-2bfa-4d82-93dd-4655ec71c09f" providerId="ADAL" clId="{41025DA7-181F-491C-9FBD-FBB8E4B572F0}" dt="2023-06-24T10:17:24.814" v="3227" actId="732"/>
          <ac:picMkLst>
            <pc:docMk/>
            <pc:sldMk cId="1295893184" sldId="306"/>
            <ac:picMk id="5" creationId="{F089FB50-4E29-FB83-880C-A836E1B2F918}"/>
          </ac:picMkLst>
        </pc:picChg>
        <pc:picChg chg="del">
          <ac:chgData name="Nguyễn Lê Nhật Trường" userId="b57f1783-2bfa-4d82-93dd-4655ec71c09f" providerId="ADAL" clId="{41025DA7-181F-491C-9FBD-FBB8E4B572F0}" dt="2023-06-24T10:13:42.703" v="3169" actId="478"/>
          <ac:picMkLst>
            <pc:docMk/>
            <pc:sldMk cId="1295893184" sldId="306"/>
            <ac:picMk id="10" creationId="{33728994-25DD-219B-9149-6F37F24912DF}"/>
          </ac:picMkLst>
        </pc:picChg>
        <pc:picChg chg="mod">
          <ac:chgData name="Nguyễn Lê Nhật Trường" userId="b57f1783-2bfa-4d82-93dd-4655ec71c09f" providerId="ADAL" clId="{41025DA7-181F-491C-9FBD-FBB8E4B572F0}" dt="2023-06-24T10:16:24.791" v="3219" actId="1076"/>
          <ac:picMkLst>
            <pc:docMk/>
            <pc:sldMk cId="1295893184" sldId="306"/>
            <ac:picMk id="12" creationId="{776C20A4-A1E5-F92B-7744-4CD8EB7BBE56}"/>
          </ac:picMkLst>
        </pc:picChg>
        <pc:picChg chg="add mod ord modCrop">
          <ac:chgData name="Nguyễn Lê Nhật Trường" userId="b57f1783-2bfa-4d82-93dd-4655ec71c09f" providerId="ADAL" clId="{41025DA7-181F-491C-9FBD-FBB8E4B572F0}" dt="2023-06-24T10:17:48.090" v="3228" actId="732"/>
          <ac:picMkLst>
            <pc:docMk/>
            <pc:sldMk cId="1295893184" sldId="306"/>
            <ac:picMk id="16" creationId="{8B342FF6-E399-5DFE-2096-5EFE5D525D21}"/>
          </ac:picMkLst>
        </pc:picChg>
        <pc:cxnChg chg="mod">
          <ac:chgData name="Nguyễn Lê Nhật Trường" userId="b57f1783-2bfa-4d82-93dd-4655ec71c09f" providerId="ADAL" clId="{41025DA7-181F-491C-9FBD-FBB8E4B572F0}" dt="2023-06-24T10:16:24.791" v="3219" actId="1076"/>
          <ac:cxnSpMkLst>
            <pc:docMk/>
            <pc:sldMk cId="1295893184" sldId="306"/>
            <ac:cxnSpMk id="14" creationId="{A653FB85-02F0-CDCC-E079-355B5724135C}"/>
          </ac:cxnSpMkLst>
        </pc:cxnChg>
        <pc:cxnChg chg="mod">
          <ac:chgData name="Nguyễn Lê Nhật Trường" userId="b57f1783-2bfa-4d82-93dd-4655ec71c09f" providerId="ADAL" clId="{41025DA7-181F-491C-9FBD-FBB8E4B572F0}" dt="2023-06-24T10:16:24.791" v="3219" actId="1076"/>
          <ac:cxnSpMkLst>
            <pc:docMk/>
            <pc:sldMk cId="1295893184" sldId="306"/>
            <ac:cxnSpMk id="15" creationId="{E9AE21DD-9D21-EBD3-8360-43777B6B36A7}"/>
          </ac:cxnSpMkLst>
        </pc:cxnChg>
        <pc:cxnChg chg="del">
          <ac:chgData name="Nguyễn Lê Nhật Trường" userId="b57f1783-2bfa-4d82-93dd-4655ec71c09f" providerId="ADAL" clId="{41025DA7-181F-491C-9FBD-FBB8E4B572F0}" dt="2023-06-24T10:14:27.739" v="3176" actId="478"/>
          <ac:cxnSpMkLst>
            <pc:docMk/>
            <pc:sldMk cId="1295893184" sldId="306"/>
            <ac:cxnSpMk id="18" creationId="{157D0507-7A21-39C9-50A1-1856336B6B62}"/>
          </ac:cxnSpMkLst>
        </pc:cxnChg>
        <pc:cxnChg chg="del">
          <ac:chgData name="Nguyễn Lê Nhật Trường" userId="b57f1783-2bfa-4d82-93dd-4655ec71c09f" providerId="ADAL" clId="{41025DA7-181F-491C-9FBD-FBB8E4B572F0}" dt="2023-06-24T10:14:29.294" v="3177" actId="478"/>
          <ac:cxnSpMkLst>
            <pc:docMk/>
            <pc:sldMk cId="1295893184" sldId="306"/>
            <ac:cxnSpMk id="21" creationId="{ECFE5081-7501-A8C7-611C-7BB017103C30}"/>
          </ac:cxnSpMkLst>
        </pc:cxnChg>
      </pc:sldChg>
      <pc:sldChg chg="addSp delSp modSp add mod">
        <pc:chgData name="Nguyễn Lê Nhật Trường" userId="b57f1783-2bfa-4d82-93dd-4655ec71c09f" providerId="ADAL" clId="{41025DA7-181F-491C-9FBD-FBB8E4B572F0}" dt="2023-06-24T15:07:28.806" v="3263" actId="1076"/>
        <pc:sldMkLst>
          <pc:docMk/>
          <pc:sldMk cId="1319122028" sldId="307"/>
        </pc:sldMkLst>
        <pc:spChg chg="mod">
          <ac:chgData name="Nguyễn Lê Nhật Trường" userId="b57f1783-2bfa-4d82-93dd-4655ec71c09f" providerId="ADAL" clId="{41025DA7-181F-491C-9FBD-FBB8E4B572F0}" dt="2023-06-24T10:26:21.321" v="3232" actId="1076"/>
          <ac:spMkLst>
            <pc:docMk/>
            <pc:sldMk cId="1319122028" sldId="307"/>
            <ac:spMk id="3" creationId="{93408BE5-8F7E-55E3-7EE2-E11316895C59}"/>
          </ac:spMkLst>
        </pc:spChg>
        <pc:spChg chg="ord">
          <ac:chgData name="Nguyễn Lê Nhật Trường" userId="b57f1783-2bfa-4d82-93dd-4655ec71c09f" providerId="ADAL" clId="{41025DA7-181F-491C-9FBD-FBB8E4B572F0}" dt="2023-06-24T15:06:00.671" v="3251" actId="166"/>
          <ac:spMkLst>
            <pc:docMk/>
            <pc:sldMk cId="1319122028" sldId="307"/>
            <ac:spMk id="4" creationId="{50B981C0-E8A1-33EA-413E-2EBD8C8E39E9}"/>
          </ac:spMkLst>
        </pc:spChg>
        <pc:picChg chg="del">
          <ac:chgData name="Nguyễn Lê Nhật Trường" userId="b57f1783-2bfa-4d82-93dd-4655ec71c09f" providerId="ADAL" clId="{41025DA7-181F-491C-9FBD-FBB8E4B572F0}" dt="2023-06-24T10:26:24.545" v="3233" actId="478"/>
          <ac:picMkLst>
            <pc:docMk/>
            <pc:sldMk cId="1319122028" sldId="307"/>
            <ac:picMk id="5" creationId="{F089FB50-4E29-FB83-880C-A836E1B2F918}"/>
          </ac:picMkLst>
        </pc:picChg>
        <pc:picChg chg="add mod modCrop">
          <ac:chgData name="Nguyễn Lê Nhật Trường" userId="b57f1783-2bfa-4d82-93dd-4655ec71c09f" providerId="ADAL" clId="{41025DA7-181F-491C-9FBD-FBB8E4B572F0}" dt="2023-06-24T15:07:26.367" v="3262" actId="1076"/>
          <ac:picMkLst>
            <pc:docMk/>
            <pc:sldMk cId="1319122028" sldId="307"/>
            <ac:picMk id="6" creationId="{1A36E8CD-424A-4703-BCB3-DF5D2B23136F}"/>
          </ac:picMkLst>
        </pc:picChg>
        <pc:picChg chg="add mod modCrop">
          <ac:chgData name="Nguyễn Lê Nhật Trường" userId="b57f1783-2bfa-4d82-93dd-4655ec71c09f" providerId="ADAL" clId="{41025DA7-181F-491C-9FBD-FBB8E4B572F0}" dt="2023-06-24T15:07:28.806" v="3263" actId="1076"/>
          <ac:picMkLst>
            <pc:docMk/>
            <pc:sldMk cId="1319122028" sldId="307"/>
            <ac:picMk id="8" creationId="{784D1A1D-B573-A4DD-D1E9-90F9B0DE0261}"/>
          </ac:picMkLst>
        </pc:picChg>
        <pc:picChg chg="add mod">
          <ac:chgData name="Nguyễn Lê Nhật Trường" userId="b57f1783-2bfa-4d82-93dd-4655ec71c09f" providerId="ADAL" clId="{41025DA7-181F-491C-9FBD-FBB8E4B572F0}" dt="2023-06-24T15:07:23.078" v="3261" actId="1076"/>
          <ac:picMkLst>
            <pc:docMk/>
            <pc:sldMk cId="1319122028" sldId="307"/>
            <ac:picMk id="10" creationId="{9874B188-60DA-17DA-5058-7004F4CABD0C}"/>
          </ac:picMkLst>
        </pc:picChg>
        <pc:picChg chg="del">
          <ac:chgData name="Nguyễn Lê Nhật Trường" userId="b57f1783-2bfa-4d82-93dd-4655ec71c09f" providerId="ADAL" clId="{41025DA7-181F-491C-9FBD-FBB8E4B572F0}" dt="2023-06-24T10:26:24.545" v="3233" actId="478"/>
          <ac:picMkLst>
            <pc:docMk/>
            <pc:sldMk cId="1319122028" sldId="307"/>
            <ac:picMk id="12" creationId="{776C20A4-A1E5-F92B-7744-4CD8EB7BBE56}"/>
          </ac:picMkLst>
        </pc:picChg>
        <pc:picChg chg="del">
          <ac:chgData name="Nguyễn Lê Nhật Trường" userId="b57f1783-2bfa-4d82-93dd-4655ec71c09f" providerId="ADAL" clId="{41025DA7-181F-491C-9FBD-FBB8E4B572F0}" dt="2023-06-24T10:26:18.946" v="3230" actId="478"/>
          <ac:picMkLst>
            <pc:docMk/>
            <pc:sldMk cId="1319122028" sldId="307"/>
            <ac:picMk id="16" creationId="{8B342FF6-E399-5DFE-2096-5EFE5D525D21}"/>
          </ac:picMkLst>
        </pc:picChg>
        <pc:cxnChg chg="del">
          <ac:chgData name="Nguyễn Lê Nhật Trường" userId="b57f1783-2bfa-4d82-93dd-4655ec71c09f" providerId="ADAL" clId="{41025DA7-181F-491C-9FBD-FBB8E4B572F0}" dt="2023-06-24T10:26:24.545" v="3233" actId="478"/>
          <ac:cxnSpMkLst>
            <pc:docMk/>
            <pc:sldMk cId="1319122028" sldId="307"/>
            <ac:cxnSpMk id="14" creationId="{A653FB85-02F0-CDCC-E079-355B5724135C}"/>
          </ac:cxnSpMkLst>
        </pc:cxnChg>
        <pc:cxnChg chg="del">
          <ac:chgData name="Nguyễn Lê Nhật Trường" userId="b57f1783-2bfa-4d82-93dd-4655ec71c09f" providerId="ADAL" clId="{41025DA7-181F-491C-9FBD-FBB8E4B572F0}" dt="2023-06-24T10:26:24.545" v="3233" actId="478"/>
          <ac:cxnSpMkLst>
            <pc:docMk/>
            <pc:sldMk cId="1319122028" sldId="307"/>
            <ac:cxnSpMk id="15" creationId="{E9AE21DD-9D21-EBD3-8360-43777B6B36A7}"/>
          </ac:cxnSpMkLst>
        </pc:cxnChg>
      </pc:sldChg>
      <pc:sldChg chg="modSp add mod ord">
        <pc:chgData name="Nguyễn Lê Nhật Trường" userId="b57f1783-2bfa-4d82-93dd-4655ec71c09f" providerId="ADAL" clId="{41025DA7-181F-491C-9FBD-FBB8E4B572F0}" dt="2023-06-24T15:23:42.585" v="3379" actId="2710"/>
        <pc:sldMkLst>
          <pc:docMk/>
          <pc:sldMk cId="2348834581" sldId="308"/>
        </pc:sldMkLst>
        <pc:spChg chg="mod">
          <ac:chgData name="Nguyễn Lê Nhật Trường" userId="b57f1783-2bfa-4d82-93dd-4655ec71c09f" providerId="ADAL" clId="{41025DA7-181F-491C-9FBD-FBB8E4B572F0}" dt="2023-06-24T15:23:42.585" v="3379" actId="2710"/>
          <ac:spMkLst>
            <pc:docMk/>
            <pc:sldMk cId="2348834581" sldId="308"/>
            <ac:spMk id="2" creationId="{61802421-BBAF-FA0A-EA37-F2F4B389E3EE}"/>
          </ac:spMkLst>
        </pc:spChg>
      </pc:sldChg>
      <pc:sldChg chg="addSp delSp modSp add mod">
        <pc:chgData name="Nguyễn Lê Nhật Trường" userId="b57f1783-2bfa-4d82-93dd-4655ec71c09f" providerId="ADAL" clId="{41025DA7-181F-491C-9FBD-FBB8E4B572F0}" dt="2023-06-24T15:36:46.555" v="3402" actId="12788"/>
        <pc:sldMkLst>
          <pc:docMk/>
          <pc:sldMk cId="1343748605" sldId="309"/>
        </pc:sldMkLst>
        <pc:spChg chg="del mod">
          <ac:chgData name="Nguyễn Lê Nhật Trường" userId="b57f1783-2bfa-4d82-93dd-4655ec71c09f" providerId="ADAL" clId="{41025DA7-181F-491C-9FBD-FBB8E4B572F0}" dt="2023-06-24T15:35:46.089" v="3382" actId="478"/>
          <ac:spMkLst>
            <pc:docMk/>
            <pc:sldMk cId="1343748605" sldId="309"/>
            <ac:spMk id="2" creationId="{61802421-BBAF-FA0A-EA37-F2F4B389E3EE}"/>
          </ac:spMkLst>
        </pc:spChg>
        <pc:spChg chg="add del mod">
          <ac:chgData name="Nguyễn Lê Nhật Trường" userId="b57f1783-2bfa-4d82-93dd-4655ec71c09f" providerId="ADAL" clId="{41025DA7-181F-491C-9FBD-FBB8E4B572F0}" dt="2023-06-24T15:35:48.944" v="3383" actId="478"/>
          <ac:spMkLst>
            <pc:docMk/>
            <pc:sldMk cId="1343748605" sldId="309"/>
            <ac:spMk id="5" creationId="{4958D2BA-0BAF-E339-C1DC-81F53318C854}"/>
          </ac:spMkLst>
        </pc:spChg>
        <pc:spChg chg="del">
          <ac:chgData name="Nguyễn Lê Nhật Trường" userId="b57f1783-2bfa-4d82-93dd-4655ec71c09f" providerId="ADAL" clId="{41025DA7-181F-491C-9FBD-FBB8E4B572F0}" dt="2023-06-24T15:35:51.875" v="3384" actId="478"/>
          <ac:spMkLst>
            <pc:docMk/>
            <pc:sldMk cId="1343748605" sldId="309"/>
            <ac:spMk id="6" creationId="{27D871B0-F563-8A61-343A-D0E04AA3560A}"/>
          </ac:spMkLst>
        </pc:spChg>
        <pc:picChg chg="del">
          <ac:chgData name="Nguyễn Lê Nhật Trường" userId="b57f1783-2bfa-4d82-93dd-4655ec71c09f" providerId="ADAL" clId="{41025DA7-181F-491C-9FBD-FBB8E4B572F0}" dt="2023-06-24T15:35:51.875" v="3384" actId="478"/>
          <ac:picMkLst>
            <pc:docMk/>
            <pc:sldMk cId="1343748605" sldId="309"/>
            <ac:picMk id="7" creationId="{E0996F28-595A-E0D4-A4CC-C167A1F5093D}"/>
          </ac:picMkLst>
        </pc:picChg>
        <pc:picChg chg="add mod modCrop">
          <ac:chgData name="Nguyễn Lê Nhật Trường" userId="b57f1783-2bfa-4d82-93dd-4655ec71c09f" providerId="ADAL" clId="{41025DA7-181F-491C-9FBD-FBB8E4B572F0}" dt="2023-06-24T15:36:46.555" v="3402" actId="12788"/>
          <ac:picMkLst>
            <pc:docMk/>
            <pc:sldMk cId="1343748605" sldId="309"/>
            <ac:picMk id="9" creationId="{E44D7A31-E26B-478B-CAFF-AD73604B52E0}"/>
          </ac:picMkLst>
        </pc:picChg>
      </pc:sldChg>
      <pc:sldChg chg="delSp modSp add mod">
        <pc:chgData name="Nguyễn Lê Nhật Trường" userId="b57f1783-2bfa-4d82-93dd-4655ec71c09f" providerId="ADAL" clId="{41025DA7-181F-491C-9FBD-FBB8E4B572F0}" dt="2023-06-25T17:34:36.091" v="4003" actId="13926"/>
        <pc:sldMkLst>
          <pc:docMk/>
          <pc:sldMk cId="3322798943" sldId="310"/>
        </pc:sldMkLst>
        <pc:spChg chg="mod">
          <ac:chgData name="Nguyễn Lê Nhật Trường" userId="b57f1783-2bfa-4d82-93dd-4655ec71c09f" providerId="ADAL" clId="{41025DA7-181F-491C-9FBD-FBB8E4B572F0}" dt="2023-06-25T17:34:36.091" v="4003" actId="13926"/>
          <ac:spMkLst>
            <pc:docMk/>
            <pc:sldMk cId="3322798943" sldId="310"/>
            <ac:spMk id="5" creationId="{9B5B979A-6177-6A5A-C2DE-FEA16EFEBC0F}"/>
          </ac:spMkLst>
        </pc:spChg>
        <pc:spChg chg="del mod">
          <ac:chgData name="Nguyễn Lê Nhật Trường" userId="b57f1783-2bfa-4d82-93dd-4655ec71c09f" providerId="ADAL" clId="{41025DA7-181F-491C-9FBD-FBB8E4B572F0}" dt="2023-06-24T15:40:13.619" v="3428" actId="478"/>
          <ac:spMkLst>
            <pc:docMk/>
            <pc:sldMk cId="3322798943" sldId="310"/>
            <ac:spMk id="11" creationId="{14EDFC6E-9679-B503-CADF-35ACC0740B12}"/>
          </ac:spMkLst>
        </pc:spChg>
        <pc:picChg chg="del">
          <ac:chgData name="Nguyễn Lê Nhật Trường" userId="b57f1783-2bfa-4d82-93dd-4655ec71c09f" providerId="ADAL" clId="{41025DA7-181F-491C-9FBD-FBB8E4B572F0}" dt="2023-06-24T15:40:16.849" v="3429" actId="478"/>
          <ac:picMkLst>
            <pc:docMk/>
            <pc:sldMk cId="3322798943" sldId="310"/>
            <ac:picMk id="9" creationId="{809448FD-6F78-875C-1C70-64BC5CA1DE28}"/>
          </ac:picMkLst>
        </pc:picChg>
      </pc:sldChg>
      <pc:sldChg chg="addSp delSp modSp add mod ord">
        <pc:chgData name="Nguyễn Lê Nhật Trường" userId="b57f1783-2bfa-4d82-93dd-4655ec71c09f" providerId="ADAL" clId="{41025DA7-181F-491C-9FBD-FBB8E4B572F0}" dt="2023-06-25T05:36:17.408" v="3497"/>
        <pc:sldMkLst>
          <pc:docMk/>
          <pc:sldMk cId="678461211" sldId="311"/>
        </pc:sldMkLst>
        <pc:spChg chg="add mod">
          <ac:chgData name="Nguyễn Lê Nhật Trường" userId="b57f1783-2bfa-4d82-93dd-4655ec71c09f" providerId="ADAL" clId="{41025DA7-181F-491C-9FBD-FBB8E4B572F0}" dt="2023-06-24T15:45:42.781" v="3469" actId="113"/>
          <ac:spMkLst>
            <pc:docMk/>
            <pc:sldMk cId="678461211" sldId="311"/>
            <ac:spMk id="2" creationId="{37F583EE-5DA0-A065-BB86-57B81FFAF4CC}"/>
          </ac:spMkLst>
        </pc:spChg>
        <pc:spChg chg="del">
          <ac:chgData name="Nguyễn Lê Nhật Trường" userId="b57f1783-2bfa-4d82-93dd-4655ec71c09f" providerId="ADAL" clId="{41025DA7-181F-491C-9FBD-FBB8E4B572F0}" dt="2023-06-24T15:44:06.850" v="3446" actId="478"/>
          <ac:spMkLst>
            <pc:docMk/>
            <pc:sldMk cId="678461211" sldId="311"/>
            <ac:spMk id="5" creationId="{9B5B979A-6177-6A5A-C2DE-FEA16EFEBC0F}"/>
          </ac:spMkLst>
        </pc:spChg>
      </pc:sldChg>
      <pc:sldChg chg="add del">
        <pc:chgData name="Nguyễn Lê Nhật Trường" userId="b57f1783-2bfa-4d82-93dd-4655ec71c09f" providerId="ADAL" clId="{41025DA7-181F-491C-9FBD-FBB8E4B572F0}" dt="2023-06-24T15:51:07.890" v="3471" actId="47"/>
        <pc:sldMkLst>
          <pc:docMk/>
          <pc:sldMk cId="1884733198" sldId="312"/>
        </pc:sldMkLst>
      </pc:sldChg>
      <pc:sldChg chg="modSp add mod">
        <pc:chgData name="Nguyễn Lê Nhật Trường" userId="b57f1783-2bfa-4d82-93dd-4655ec71c09f" providerId="ADAL" clId="{41025DA7-181F-491C-9FBD-FBB8E4B572F0}" dt="2023-06-24T15:56:18.891" v="3493" actId="1076"/>
        <pc:sldMkLst>
          <pc:docMk/>
          <pc:sldMk cId="2829790520" sldId="312"/>
        </pc:sldMkLst>
        <pc:spChg chg="mod">
          <ac:chgData name="Nguyễn Lê Nhật Trường" userId="b57f1783-2bfa-4d82-93dd-4655ec71c09f" providerId="ADAL" clId="{41025DA7-181F-491C-9FBD-FBB8E4B572F0}" dt="2023-06-24T15:56:18.891" v="3493" actId="1076"/>
          <ac:spMkLst>
            <pc:docMk/>
            <pc:sldMk cId="2829790520" sldId="312"/>
            <ac:spMk id="2" creationId="{37F583EE-5DA0-A065-BB86-57B81FFAF4CC}"/>
          </ac:spMkLst>
        </pc:spChg>
      </pc:sldChg>
      <pc:sldChg chg="modSp add mod">
        <pc:chgData name="Nguyễn Lê Nhật Trường" userId="b57f1783-2bfa-4d82-93dd-4655ec71c09f" providerId="ADAL" clId="{41025DA7-181F-491C-9FBD-FBB8E4B572F0}" dt="2023-06-25T05:58:29.913" v="3580" actId="207"/>
        <pc:sldMkLst>
          <pc:docMk/>
          <pc:sldMk cId="3417258362" sldId="313"/>
        </pc:sldMkLst>
        <pc:spChg chg="mod">
          <ac:chgData name="Nguyễn Lê Nhật Trường" userId="b57f1783-2bfa-4d82-93dd-4655ec71c09f" providerId="ADAL" clId="{41025DA7-181F-491C-9FBD-FBB8E4B572F0}" dt="2023-06-25T05:58:13.256" v="3578" actId="207"/>
          <ac:spMkLst>
            <pc:docMk/>
            <pc:sldMk cId="3417258362" sldId="313"/>
            <ac:spMk id="69" creationId="{FE52C954-768F-3FCA-7622-C82F5057646A}"/>
          </ac:spMkLst>
        </pc:spChg>
        <pc:spChg chg="mod">
          <ac:chgData name="Nguyễn Lê Nhật Trường" userId="b57f1783-2bfa-4d82-93dd-4655ec71c09f" providerId="ADAL" clId="{41025DA7-181F-491C-9FBD-FBB8E4B572F0}" dt="2023-06-25T05:58:10.107" v="3577" actId="207"/>
          <ac:spMkLst>
            <pc:docMk/>
            <pc:sldMk cId="3417258362" sldId="313"/>
            <ac:spMk id="71" creationId="{6EB4E7E0-3C85-1975-BB96-8679FE863E33}"/>
          </ac:spMkLst>
        </pc:spChg>
        <pc:spChg chg="mod">
          <ac:chgData name="Nguyễn Lê Nhật Trường" userId="b57f1783-2bfa-4d82-93dd-4655ec71c09f" providerId="ADAL" clId="{41025DA7-181F-491C-9FBD-FBB8E4B572F0}" dt="2023-06-25T05:58:29.913" v="3580" actId="207"/>
          <ac:spMkLst>
            <pc:docMk/>
            <pc:sldMk cId="3417258362" sldId="313"/>
            <ac:spMk id="73" creationId="{A0DF5099-3F9D-FD74-E8AC-C3C8489FECAD}"/>
          </ac:spMkLst>
        </pc:spChg>
        <pc:spChg chg="mod">
          <ac:chgData name="Nguyễn Lê Nhật Trường" userId="b57f1783-2bfa-4d82-93dd-4655ec71c09f" providerId="ADAL" clId="{41025DA7-181F-491C-9FBD-FBB8E4B572F0}" dt="2023-06-25T05:58:24.675" v="3579" actId="207"/>
          <ac:spMkLst>
            <pc:docMk/>
            <pc:sldMk cId="3417258362" sldId="313"/>
            <ac:spMk id="75" creationId="{C4A0805E-7274-BF67-74AF-E5037B91C888}"/>
          </ac:spMkLst>
        </pc:spChg>
      </pc:sldChg>
      <pc:sldChg chg="addSp delSp new del mod">
        <pc:chgData name="Nguyễn Lê Nhật Trường" userId="b57f1783-2bfa-4d82-93dd-4655ec71c09f" providerId="ADAL" clId="{41025DA7-181F-491C-9FBD-FBB8E4B572F0}" dt="2023-06-25T17:56:02.510" v="4196" actId="47"/>
        <pc:sldMkLst>
          <pc:docMk/>
          <pc:sldMk cId="2756933779" sldId="314"/>
        </pc:sldMkLst>
        <pc:picChg chg="add del">
          <ac:chgData name="Nguyễn Lê Nhật Trường" userId="b57f1783-2bfa-4d82-93dd-4655ec71c09f" providerId="ADAL" clId="{41025DA7-181F-491C-9FBD-FBB8E4B572F0}" dt="2023-06-25T06:19:27.955" v="3583" actId="22"/>
          <ac:picMkLst>
            <pc:docMk/>
            <pc:sldMk cId="2756933779" sldId="314"/>
            <ac:picMk id="4" creationId="{1932BB4E-EBC5-FF96-1EC7-D952243B1E40}"/>
          </ac:picMkLst>
        </pc:picChg>
      </pc:sldChg>
      <pc:sldChg chg="addSp delSp modSp add mod">
        <pc:chgData name="Nguyễn Lê Nhật Trường" userId="b57f1783-2bfa-4d82-93dd-4655ec71c09f" providerId="ADAL" clId="{41025DA7-181F-491C-9FBD-FBB8E4B572F0}" dt="2023-06-25T06:21:53.906" v="3592" actId="1076"/>
        <pc:sldMkLst>
          <pc:docMk/>
          <pc:sldMk cId="202591906" sldId="315"/>
        </pc:sldMkLst>
        <pc:spChg chg="del">
          <ac:chgData name="Nguyễn Lê Nhật Trường" userId="b57f1783-2bfa-4d82-93dd-4655ec71c09f" providerId="ADAL" clId="{41025DA7-181F-491C-9FBD-FBB8E4B572F0}" dt="2023-06-25T06:19:33.548" v="3585" actId="478"/>
          <ac:spMkLst>
            <pc:docMk/>
            <pc:sldMk cId="202591906" sldId="315"/>
            <ac:spMk id="5" creationId="{9B5B979A-6177-6A5A-C2DE-FEA16EFEBC0F}"/>
          </ac:spMkLst>
        </pc:spChg>
        <pc:spChg chg="del">
          <ac:chgData name="Nguyễn Lê Nhật Trường" userId="b57f1783-2bfa-4d82-93dd-4655ec71c09f" providerId="ADAL" clId="{41025DA7-181F-491C-9FBD-FBB8E4B572F0}" dt="2023-06-25T06:19:33.548" v="3585" actId="478"/>
          <ac:spMkLst>
            <pc:docMk/>
            <pc:sldMk cId="202591906" sldId="315"/>
            <ac:spMk id="11" creationId="{14EDFC6E-9679-B503-CADF-35ACC0740B12}"/>
          </ac:spMkLst>
        </pc:spChg>
        <pc:picChg chg="add del mod">
          <ac:chgData name="Nguyễn Lê Nhật Trường" userId="b57f1783-2bfa-4d82-93dd-4655ec71c09f" providerId="ADAL" clId="{41025DA7-181F-491C-9FBD-FBB8E4B572F0}" dt="2023-06-25T06:20:41.678" v="3589" actId="478"/>
          <ac:picMkLst>
            <pc:docMk/>
            <pc:sldMk cId="202591906" sldId="315"/>
            <ac:picMk id="3" creationId="{4471FE1F-072B-C9FC-5D6D-944AEC2215BF}"/>
          </ac:picMkLst>
        </pc:picChg>
        <pc:picChg chg="add mod">
          <ac:chgData name="Nguyễn Lê Nhật Trường" userId="b57f1783-2bfa-4d82-93dd-4655ec71c09f" providerId="ADAL" clId="{41025DA7-181F-491C-9FBD-FBB8E4B572F0}" dt="2023-06-25T06:21:53.906" v="3592" actId="1076"/>
          <ac:picMkLst>
            <pc:docMk/>
            <pc:sldMk cId="202591906" sldId="315"/>
            <ac:picMk id="6" creationId="{16A2FDF5-50B2-92A7-6FB1-E807D15E1240}"/>
          </ac:picMkLst>
        </pc:picChg>
        <pc:picChg chg="del">
          <ac:chgData name="Nguyễn Lê Nhật Trường" userId="b57f1783-2bfa-4d82-93dd-4655ec71c09f" providerId="ADAL" clId="{41025DA7-181F-491C-9FBD-FBB8E4B572F0}" dt="2023-06-25T06:19:33.548" v="3585" actId="478"/>
          <ac:picMkLst>
            <pc:docMk/>
            <pc:sldMk cId="202591906" sldId="315"/>
            <ac:picMk id="9" creationId="{809448FD-6F78-875C-1C70-64BC5CA1DE28}"/>
          </ac:picMkLst>
        </pc:picChg>
      </pc:sldChg>
      <pc:sldChg chg="addSp delSp modSp add mod">
        <pc:chgData name="Nguyễn Lê Nhật Trường" userId="b57f1783-2bfa-4d82-93dd-4655ec71c09f" providerId="ADAL" clId="{41025DA7-181F-491C-9FBD-FBB8E4B572F0}" dt="2023-06-25T07:43:03.212" v="3775"/>
        <pc:sldMkLst>
          <pc:docMk/>
          <pc:sldMk cId="216611961" sldId="316"/>
        </pc:sldMkLst>
        <pc:spChg chg="add del mod">
          <ac:chgData name="Nguyễn Lê Nhật Trường" userId="b57f1783-2bfa-4d82-93dd-4655ec71c09f" providerId="ADAL" clId="{41025DA7-181F-491C-9FBD-FBB8E4B572F0}" dt="2023-06-25T07:43:03.212" v="3775"/>
          <ac:spMkLst>
            <pc:docMk/>
            <pc:sldMk cId="216611961" sldId="316"/>
            <ac:spMk id="5" creationId="{D436262B-CA97-56FB-CBC1-0F3140837167}"/>
          </ac:spMkLst>
        </pc:spChg>
        <pc:spChg chg="del mod">
          <ac:chgData name="Nguyễn Lê Nhật Trường" userId="b57f1783-2bfa-4d82-93dd-4655ec71c09f" providerId="ADAL" clId="{41025DA7-181F-491C-9FBD-FBB8E4B572F0}" dt="2023-06-25T07:43:01.473" v="3774" actId="478"/>
          <ac:spMkLst>
            <pc:docMk/>
            <pc:sldMk cId="216611961" sldId="316"/>
            <ac:spMk id="7" creationId="{6C56BD45-B3D0-1482-095A-505AFDA42532}"/>
          </ac:spMkLst>
        </pc:spChg>
        <pc:spChg chg="add mod">
          <ac:chgData name="Nguyễn Lê Nhật Trường" userId="b57f1783-2bfa-4d82-93dd-4655ec71c09f" providerId="ADAL" clId="{41025DA7-181F-491C-9FBD-FBB8E4B572F0}" dt="2023-06-25T07:43:03.212" v="3775"/>
          <ac:spMkLst>
            <pc:docMk/>
            <pc:sldMk cId="216611961" sldId="316"/>
            <ac:spMk id="8" creationId="{F94F73EA-25EE-EA7E-2546-C9C62607BB55}"/>
          </ac:spMkLst>
        </pc:spChg>
        <pc:picChg chg="add mod modCrop">
          <ac:chgData name="Nguyễn Lê Nhật Trường" userId="b57f1783-2bfa-4d82-93dd-4655ec71c09f" providerId="ADAL" clId="{41025DA7-181F-491C-9FBD-FBB8E4B572F0}" dt="2023-06-25T06:49:46.124" v="3602" actId="1076"/>
          <ac:picMkLst>
            <pc:docMk/>
            <pc:sldMk cId="216611961" sldId="316"/>
            <ac:picMk id="3" creationId="{E94C91A9-5472-2D41-E18E-63015CED2CE1}"/>
          </ac:picMkLst>
        </pc:picChg>
        <pc:picChg chg="del">
          <ac:chgData name="Nguyễn Lê Nhật Trường" userId="b57f1783-2bfa-4d82-93dd-4655ec71c09f" providerId="ADAL" clId="{41025DA7-181F-491C-9FBD-FBB8E4B572F0}" dt="2023-06-25T06:47:46.941" v="3594" actId="478"/>
          <ac:picMkLst>
            <pc:docMk/>
            <pc:sldMk cId="216611961" sldId="316"/>
            <ac:picMk id="6" creationId="{16A2FDF5-50B2-92A7-6FB1-E807D15E1240}"/>
          </ac:picMkLst>
        </pc:picChg>
      </pc:sldChg>
      <pc:sldChg chg="addSp delSp modSp add mod">
        <pc:chgData name="Nguyễn Lê Nhật Trường" userId="b57f1783-2bfa-4d82-93dd-4655ec71c09f" providerId="ADAL" clId="{41025DA7-181F-491C-9FBD-FBB8E4B572F0}" dt="2023-06-25T07:43:10.898" v="3779"/>
        <pc:sldMkLst>
          <pc:docMk/>
          <pc:sldMk cId="2788236158" sldId="317"/>
        </pc:sldMkLst>
        <pc:spChg chg="add del mod">
          <ac:chgData name="Nguyễn Lê Nhật Trường" userId="b57f1783-2bfa-4d82-93dd-4655ec71c09f" providerId="ADAL" clId="{41025DA7-181F-491C-9FBD-FBB8E4B572F0}" dt="2023-06-25T07:43:07.819" v="3777"/>
          <ac:spMkLst>
            <pc:docMk/>
            <pc:sldMk cId="2788236158" sldId="317"/>
            <ac:spMk id="5" creationId="{FD8DA906-F838-9B71-4CEB-B7A76EE81C72}"/>
          </ac:spMkLst>
        </pc:spChg>
        <pc:spChg chg="del">
          <ac:chgData name="Nguyễn Lê Nhật Trường" userId="b57f1783-2bfa-4d82-93dd-4655ec71c09f" providerId="ADAL" clId="{41025DA7-181F-491C-9FBD-FBB8E4B572F0}" dt="2023-06-25T07:43:09.875" v="3778" actId="478"/>
          <ac:spMkLst>
            <pc:docMk/>
            <pc:sldMk cId="2788236158" sldId="317"/>
            <ac:spMk id="7" creationId="{6C56BD45-B3D0-1482-095A-505AFDA42532}"/>
          </ac:spMkLst>
        </pc:spChg>
        <pc:spChg chg="add del mod">
          <ac:chgData name="Nguyễn Lê Nhật Trường" userId="b57f1783-2bfa-4d82-93dd-4655ec71c09f" providerId="ADAL" clId="{41025DA7-181F-491C-9FBD-FBB8E4B572F0}" dt="2023-06-25T07:43:10.898" v="3779"/>
          <ac:spMkLst>
            <pc:docMk/>
            <pc:sldMk cId="2788236158" sldId="317"/>
            <ac:spMk id="8" creationId="{C12F4218-AD0C-91F1-F208-D99BA22208B2}"/>
          </ac:spMkLst>
        </pc:spChg>
        <pc:spChg chg="add mod">
          <ac:chgData name="Nguyễn Lê Nhật Trường" userId="b57f1783-2bfa-4d82-93dd-4655ec71c09f" providerId="ADAL" clId="{41025DA7-181F-491C-9FBD-FBB8E4B572F0}" dt="2023-06-25T07:43:10.898" v="3779"/>
          <ac:spMkLst>
            <pc:docMk/>
            <pc:sldMk cId="2788236158" sldId="317"/>
            <ac:spMk id="9" creationId="{250C74F4-1D74-E681-9F5F-DA38E7E617C9}"/>
          </ac:spMkLst>
        </pc:spChg>
        <pc:picChg chg="del">
          <ac:chgData name="Nguyễn Lê Nhật Trường" userId="b57f1783-2bfa-4d82-93dd-4655ec71c09f" providerId="ADAL" clId="{41025DA7-181F-491C-9FBD-FBB8E4B572F0}" dt="2023-06-25T07:19:44.135" v="3604" actId="478"/>
          <ac:picMkLst>
            <pc:docMk/>
            <pc:sldMk cId="2788236158" sldId="317"/>
            <ac:picMk id="3" creationId="{E94C91A9-5472-2D41-E18E-63015CED2CE1}"/>
          </ac:picMkLst>
        </pc:picChg>
        <pc:picChg chg="add mod">
          <ac:chgData name="Nguyễn Lê Nhật Trường" userId="b57f1783-2bfa-4d82-93dd-4655ec71c09f" providerId="ADAL" clId="{41025DA7-181F-491C-9FBD-FBB8E4B572F0}" dt="2023-06-25T07:27:57.930" v="3651" actId="14826"/>
          <ac:picMkLst>
            <pc:docMk/>
            <pc:sldMk cId="2788236158" sldId="317"/>
            <ac:picMk id="4" creationId="{629144B5-95FD-FF01-F584-C19873CD4908}"/>
          </ac:picMkLst>
        </pc:picChg>
      </pc:sldChg>
      <pc:sldChg chg="addSp modSp add mod modTransition">
        <pc:chgData name="Nguyễn Lê Nhật Trường" userId="b57f1783-2bfa-4d82-93dd-4655ec71c09f" providerId="ADAL" clId="{41025DA7-181F-491C-9FBD-FBB8E4B572F0}" dt="2023-06-25T07:25:28.586" v="3646"/>
        <pc:sldMkLst>
          <pc:docMk/>
          <pc:sldMk cId="3941051359" sldId="318"/>
        </pc:sldMkLst>
        <pc:spChg chg="add mod">
          <ac:chgData name="Nguyễn Lê Nhật Trường" userId="b57f1783-2bfa-4d82-93dd-4655ec71c09f" providerId="ADAL" clId="{41025DA7-181F-491C-9FBD-FBB8E4B572F0}" dt="2023-06-25T07:21:54.434" v="3633" actId="403"/>
          <ac:spMkLst>
            <pc:docMk/>
            <pc:sldMk cId="3941051359" sldId="318"/>
            <ac:spMk id="2" creationId="{F47D807D-04BE-2364-3A46-07F97C2BBD60}"/>
          </ac:spMkLst>
        </pc:spChg>
        <pc:picChg chg="mod">
          <ac:chgData name="Nguyễn Lê Nhật Trường" userId="b57f1783-2bfa-4d82-93dd-4655ec71c09f" providerId="ADAL" clId="{41025DA7-181F-491C-9FBD-FBB8E4B572F0}" dt="2023-06-25T07:21:00.241" v="3611" actId="14100"/>
          <ac:picMkLst>
            <pc:docMk/>
            <pc:sldMk cId="3941051359" sldId="318"/>
            <ac:picMk id="6" creationId="{16A2FDF5-50B2-92A7-6FB1-E807D15E1240}"/>
          </ac:picMkLst>
        </pc:picChg>
      </pc:sldChg>
      <pc:sldChg chg="addSp delSp modSp add mod modTransition">
        <pc:chgData name="Nguyễn Lê Nhật Trường" userId="b57f1783-2bfa-4d82-93dd-4655ec71c09f" providerId="ADAL" clId="{41025DA7-181F-491C-9FBD-FBB8E4B572F0}" dt="2023-06-25T07:43:16.634" v="3781"/>
        <pc:sldMkLst>
          <pc:docMk/>
          <pc:sldMk cId="1576740889" sldId="319"/>
        </pc:sldMkLst>
        <pc:spChg chg="add del mod">
          <ac:chgData name="Nguyễn Lê Nhật Trường" userId="b57f1783-2bfa-4d82-93dd-4655ec71c09f" providerId="ADAL" clId="{41025DA7-181F-491C-9FBD-FBB8E4B572F0}" dt="2023-06-25T07:43:16.634" v="3781"/>
          <ac:spMkLst>
            <pc:docMk/>
            <pc:sldMk cId="1576740889" sldId="319"/>
            <ac:spMk id="3" creationId="{58FF5AA4-748D-498B-8959-697161688600}"/>
          </ac:spMkLst>
        </pc:spChg>
        <pc:spChg chg="add mod">
          <ac:chgData name="Nguyễn Lê Nhật Trường" userId="b57f1783-2bfa-4d82-93dd-4655ec71c09f" providerId="ADAL" clId="{41025DA7-181F-491C-9FBD-FBB8E4B572F0}" dt="2023-06-25T07:43:16.634" v="3781"/>
          <ac:spMkLst>
            <pc:docMk/>
            <pc:sldMk cId="1576740889" sldId="319"/>
            <ac:spMk id="5" creationId="{6534F37F-035B-BD5A-C110-E7A453693EF6}"/>
          </ac:spMkLst>
        </pc:spChg>
        <pc:spChg chg="del">
          <ac:chgData name="Nguyễn Lê Nhật Trường" userId="b57f1783-2bfa-4d82-93dd-4655ec71c09f" providerId="ADAL" clId="{41025DA7-181F-491C-9FBD-FBB8E4B572F0}" dt="2023-06-25T07:43:15.497" v="3780" actId="478"/>
          <ac:spMkLst>
            <pc:docMk/>
            <pc:sldMk cId="1576740889" sldId="319"/>
            <ac:spMk id="7" creationId="{6C56BD45-B3D0-1482-095A-505AFDA42532}"/>
          </ac:spMkLst>
        </pc:spChg>
        <pc:picChg chg="mod modCrop">
          <ac:chgData name="Nguyễn Lê Nhật Trường" userId="b57f1783-2bfa-4d82-93dd-4655ec71c09f" providerId="ADAL" clId="{41025DA7-181F-491C-9FBD-FBB8E4B572F0}" dt="2023-06-25T07:28:58.986" v="3660" actId="14100"/>
          <ac:picMkLst>
            <pc:docMk/>
            <pc:sldMk cId="1576740889" sldId="319"/>
            <ac:picMk id="4" creationId="{629144B5-95FD-FF01-F584-C19873CD4908}"/>
          </ac:picMkLst>
        </pc:picChg>
      </pc:sldChg>
      <pc:sldChg chg="modSp add del mod">
        <pc:chgData name="Nguyễn Lê Nhật Trường" userId="b57f1783-2bfa-4d82-93dd-4655ec71c09f" providerId="ADAL" clId="{41025DA7-181F-491C-9FBD-FBB8E4B572F0}" dt="2023-06-25T07:29:02.184" v="3661" actId="47"/>
        <pc:sldMkLst>
          <pc:docMk/>
          <pc:sldMk cId="3817271362" sldId="320"/>
        </pc:sldMkLst>
        <pc:picChg chg="mod modCrop">
          <ac:chgData name="Nguyễn Lê Nhật Trường" userId="b57f1783-2bfa-4d82-93dd-4655ec71c09f" providerId="ADAL" clId="{41025DA7-181F-491C-9FBD-FBB8E4B572F0}" dt="2023-06-25T07:24:44.385" v="3645" actId="18131"/>
          <ac:picMkLst>
            <pc:docMk/>
            <pc:sldMk cId="3817271362" sldId="320"/>
            <ac:picMk id="4" creationId="{629144B5-95FD-FF01-F584-C19873CD4908}"/>
          </ac:picMkLst>
        </pc:picChg>
      </pc:sldChg>
      <pc:sldChg chg="modSp add del mod">
        <pc:chgData name="Nguyễn Lê Nhật Trường" userId="b57f1783-2bfa-4d82-93dd-4655ec71c09f" providerId="ADAL" clId="{41025DA7-181F-491C-9FBD-FBB8E4B572F0}" dt="2023-06-25T07:29:53.581" v="3669" actId="47"/>
        <pc:sldMkLst>
          <pc:docMk/>
          <pc:sldMk cId="3538560021" sldId="321"/>
        </pc:sldMkLst>
        <pc:picChg chg="mod modCrop">
          <ac:chgData name="Nguyễn Lê Nhật Trường" userId="b57f1783-2bfa-4d82-93dd-4655ec71c09f" providerId="ADAL" clId="{41025DA7-181F-491C-9FBD-FBB8E4B572F0}" dt="2023-06-25T07:26:12.137" v="3650" actId="18131"/>
          <ac:picMkLst>
            <pc:docMk/>
            <pc:sldMk cId="3538560021" sldId="321"/>
            <ac:picMk id="4" creationId="{629144B5-95FD-FF01-F584-C19873CD4908}"/>
          </ac:picMkLst>
        </pc:picChg>
      </pc:sldChg>
      <pc:sldChg chg="addSp delSp modSp add mod">
        <pc:chgData name="Nguyễn Lê Nhật Trường" userId="b57f1783-2bfa-4d82-93dd-4655ec71c09f" providerId="ADAL" clId="{41025DA7-181F-491C-9FBD-FBB8E4B572F0}" dt="2023-06-25T17:42:51.606" v="4095" actId="14100"/>
        <pc:sldMkLst>
          <pc:docMk/>
          <pc:sldMk cId="557684182" sldId="322"/>
        </pc:sldMkLst>
        <pc:spChg chg="add del mod">
          <ac:chgData name="Nguyễn Lê Nhật Trường" userId="b57f1783-2bfa-4d82-93dd-4655ec71c09f" providerId="ADAL" clId="{41025DA7-181F-491C-9FBD-FBB8E4B572F0}" dt="2023-06-25T07:43:22.705" v="3783"/>
          <ac:spMkLst>
            <pc:docMk/>
            <pc:sldMk cId="557684182" sldId="322"/>
            <ac:spMk id="3" creationId="{ADD6ED7B-DF7C-C6DD-065F-60C462164969}"/>
          </ac:spMkLst>
        </pc:spChg>
        <pc:spChg chg="add mod">
          <ac:chgData name="Nguyễn Lê Nhật Trường" userId="b57f1783-2bfa-4d82-93dd-4655ec71c09f" providerId="ADAL" clId="{41025DA7-181F-491C-9FBD-FBB8E4B572F0}" dt="2023-06-25T07:43:22.705" v="3783"/>
          <ac:spMkLst>
            <pc:docMk/>
            <pc:sldMk cId="557684182" sldId="322"/>
            <ac:spMk id="5" creationId="{F59CD880-7690-2F93-3E1E-0D419F773EF4}"/>
          </ac:spMkLst>
        </pc:spChg>
        <pc:spChg chg="add mod">
          <ac:chgData name="Nguyễn Lê Nhật Trường" userId="b57f1783-2bfa-4d82-93dd-4655ec71c09f" providerId="ADAL" clId="{41025DA7-181F-491C-9FBD-FBB8E4B572F0}" dt="2023-06-25T17:42:51.606" v="4095" actId="14100"/>
          <ac:spMkLst>
            <pc:docMk/>
            <pc:sldMk cId="557684182" sldId="322"/>
            <ac:spMk id="6" creationId="{2931603B-7E2D-D483-5C74-8E87EBE57046}"/>
          </ac:spMkLst>
        </pc:spChg>
        <pc:spChg chg="del">
          <ac:chgData name="Nguyễn Lê Nhật Trường" userId="b57f1783-2bfa-4d82-93dd-4655ec71c09f" providerId="ADAL" clId="{41025DA7-181F-491C-9FBD-FBB8E4B572F0}" dt="2023-06-25T07:43:21.765" v="3782" actId="478"/>
          <ac:spMkLst>
            <pc:docMk/>
            <pc:sldMk cId="557684182" sldId="322"/>
            <ac:spMk id="7" creationId="{6C56BD45-B3D0-1482-095A-505AFDA42532}"/>
          </ac:spMkLst>
        </pc:spChg>
        <pc:picChg chg="mod modCrop">
          <ac:chgData name="Nguyễn Lê Nhật Trường" userId="b57f1783-2bfa-4d82-93dd-4655ec71c09f" providerId="ADAL" clId="{41025DA7-181F-491C-9FBD-FBB8E4B572F0}" dt="2023-06-25T07:29:48.044" v="3667" actId="732"/>
          <ac:picMkLst>
            <pc:docMk/>
            <pc:sldMk cId="557684182" sldId="322"/>
            <ac:picMk id="4" creationId="{629144B5-95FD-FF01-F584-C19873CD4908}"/>
          </ac:picMkLst>
        </pc:picChg>
      </pc:sldChg>
      <pc:sldChg chg="addSp delSp modSp add mod">
        <pc:chgData name="Nguyễn Lê Nhật Trường" userId="b57f1783-2bfa-4d82-93dd-4655ec71c09f" providerId="ADAL" clId="{41025DA7-181F-491C-9FBD-FBB8E4B572F0}" dt="2023-06-25T07:43:29.620" v="3785"/>
        <pc:sldMkLst>
          <pc:docMk/>
          <pc:sldMk cId="2367682749" sldId="323"/>
        </pc:sldMkLst>
        <pc:spChg chg="add del mod">
          <ac:chgData name="Nguyễn Lê Nhật Trường" userId="b57f1783-2bfa-4d82-93dd-4655ec71c09f" providerId="ADAL" clId="{41025DA7-181F-491C-9FBD-FBB8E4B572F0}" dt="2023-06-25T07:43:29.620" v="3785"/>
          <ac:spMkLst>
            <pc:docMk/>
            <pc:sldMk cId="2367682749" sldId="323"/>
            <ac:spMk id="3" creationId="{6EFE591F-9967-1396-55AA-4A2B8FF3D0C5}"/>
          </ac:spMkLst>
        </pc:spChg>
        <pc:spChg chg="add mod">
          <ac:chgData name="Nguyễn Lê Nhật Trường" userId="b57f1783-2bfa-4d82-93dd-4655ec71c09f" providerId="ADAL" clId="{41025DA7-181F-491C-9FBD-FBB8E4B572F0}" dt="2023-06-25T07:43:29.620" v="3785"/>
          <ac:spMkLst>
            <pc:docMk/>
            <pc:sldMk cId="2367682749" sldId="323"/>
            <ac:spMk id="5" creationId="{23B5AD86-36AA-EA3D-ABAB-25489D807B89}"/>
          </ac:spMkLst>
        </pc:spChg>
        <pc:spChg chg="del">
          <ac:chgData name="Nguyễn Lê Nhật Trường" userId="b57f1783-2bfa-4d82-93dd-4655ec71c09f" providerId="ADAL" clId="{41025DA7-181F-491C-9FBD-FBB8E4B572F0}" dt="2023-06-25T07:43:28.531" v="3784" actId="478"/>
          <ac:spMkLst>
            <pc:docMk/>
            <pc:sldMk cId="2367682749" sldId="323"/>
            <ac:spMk id="7" creationId="{6C56BD45-B3D0-1482-095A-505AFDA42532}"/>
          </ac:spMkLst>
        </pc:spChg>
        <pc:picChg chg="mod modCrop">
          <ac:chgData name="Nguyễn Lê Nhật Trường" userId="b57f1783-2bfa-4d82-93dd-4655ec71c09f" providerId="ADAL" clId="{41025DA7-181F-491C-9FBD-FBB8E4B572F0}" dt="2023-06-25T07:30:09.942" v="3672" actId="18131"/>
          <ac:picMkLst>
            <pc:docMk/>
            <pc:sldMk cId="2367682749" sldId="323"/>
            <ac:picMk id="4" creationId="{629144B5-95FD-FF01-F584-C19873CD4908}"/>
          </ac:picMkLst>
        </pc:picChg>
      </pc:sldChg>
      <pc:sldChg chg="addSp delSp modSp add mod ord modTransition">
        <pc:chgData name="Nguyễn Lê Nhật Trường" userId="b57f1783-2bfa-4d82-93dd-4655ec71c09f" providerId="ADAL" clId="{41025DA7-181F-491C-9FBD-FBB8E4B572F0}" dt="2023-06-25T07:43:35.474" v="3787"/>
        <pc:sldMkLst>
          <pc:docMk/>
          <pc:sldMk cId="862129578" sldId="324"/>
        </pc:sldMkLst>
        <pc:spChg chg="add del mod">
          <ac:chgData name="Nguyễn Lê Nhật Trường" userId="b57f1783-2bfa-4d82-93dd-4655ec71c09f" providerId="ADAL" clId="{41025DA7-181F-491C-9FBD-FBB8E4B572F0}" dt="2023-06-25T07:43:35.474" v="3787"/>
          <ac:spMkLst>
            <pc:docMk/>
            <pc:sldMk cId="862129578" sldId="324"/>
            <ac:spMk id="3" creationId="{A5302CB9-D974-DB69-3374-99DDB686F511}"/>
          </ac:spMkLst>
        </pc:spChg>
        <pc:spChg chg="add mod">
          <ac:chgData name="Nguyễn Lê Nhật Trường" userId="b57f1783-2bfa-4d82-93dd-4655ec71c09f" providerId="ADAL" clId="{41025DA7-181F-491C-9FBD-FBB8E4B572F0}" dt="2023-06-25T07:43:35.474" v="3787"/>
          <ac:spMkLst>
            <pc:docMk/>
            <pc:sldMk cId="862129578" sldId="324"/>
            <ac:spMk id="5" creationId="{DE84BD9F-9446-AC3C-2116-52B033F86FAA}"/>
          </ac:spMkLst>
        </pc:spChg>
        <pc:spChg chg="del">
          <ac:chgData name="Nguyễn Lê Nhật Trường" userId="b57f1783-2bfa-4d82-93dd-4655ec71c09f" providerId="ADAL" clId="{41025DA7-181F-491C-9FBD-FBB8E4B572F0}" dt="2023-06-25T07:43:33.790" v="3786" actId="478"/>
          <ac:spMkLst>
            <pc:docMk/>
            <pc:sldMk cId="862129578" sldId="324"/>
            <ac:spMk id="7" creationId="{6C56BD45-B3D0-1482-095A-505AFDA42532}"/>
          </ac:spMkLst>
        </pc:spChg>
      </pc:sldChg>
      <pc:sldChg chg="addSp delSp modSp add mod modTransition">
        <pc:chgData name="Nguyễn Lê Nhật Trường" userId="b57f1783-2bfa-4d82-93dd-4655ec71c09f" providerId="ADAL" clId="{41025DA7-181F-491C-9FBD-FBB8E4B572F0}" dt="2023-06-26T04:55:36.880" v="5085" actId="1076"/>
        <pc:sldMkLst>
          <pc:docMk/>
          <pc:sldMk cId="159317587" sldId="325"/>
        </pc:sldMkLst>
        <pc:spChg chg="add del mod">
          <ac:chgData name="Nguyễn Lê Nhật Trường" userId="b57f1783-2bfa-4d82-93dd-4655ec71c09f" providerId="ADAL" clId="{41025DA7-181F-491C-9FBD-FBB8E4B572F0}" dt="2023-06-25T07:43:43.507" v="3789"/>
          <ac:spMkLst>
            <pc:docMk/>
            <pc:sldMk cId="159317587" sldId="325"/>
            <ac:spMk id="6" creationId="{CE8DFB28-50B3-E1C3-3BF0-1234955F58E3}"/>
          </ac:spMkLst>
        </pc:spChg>
        <pc:spChg chg="del">
          <ac:chgData name="Nguyễn Lê Nhật Trường" userId="b57f1783-2bfa-4d82-93dd-4655ec71c09f" providerId="ADAL" clId="{41025DA7-181F-491C-9FBD-FBB8E4B572F0}" dt="2023-06-25T07:43:41.212" v="3788" actId="478"/>
          <ac:spMkLst>
            <pc:docMk/>
            <pc:sldMk cId="159317587" sldId="325"/>
            <ac:spMk id="7" creationId="{6C56BD45-B3D0-1482-095A-505AFDA42532}"/>
          </ac:spMkLst>
        </pc:spChg>
        <pc:spChg chg="add mod">
          <ac:chgData name="Nguyễn Lê Nhật Trường" userId="b57f1783-2bfa-4d82-93dd-4655ec71c09f" providerId="ADAL" clId="{41025DA7-181F-491C-9FBD-FBB8E4B572F0}" dt="2023-06-25T07:43:43.507" v="3789"/>
          <ac:spMkLst>
            <pc:docMk/>
            <pc:sldMk cId="159317587" sldId="325"/>
            <ac:spMk id="8" creationId="{441D6C83-BFC7-FC79-97E8-24545D67121E}"/>
          </ac:spMkLst>
        </pc:spChg>
        <pc:picChg chg="add del mod modCrop">
          <ac:chgData name="Nguyễn Lê Nhật Trường" userId="b57f1783-2bfa-4d82-93dd-4655ec71c09f" providerId="ADAL" clId="{41025DA7-181F-491C-9FBD-FBB8E4B572F0}" dt="2023-06-26T04:54:51.436" v="5081" actId="478"/>
          <ac:picMkLst>
            <pc:docMk/>
            <pc:sldMk cId="159317587" sldId="325"/>
            <ac:picMk id="3" creationId="{5F785DB6-32D3-6DB1-3749-D585785DDD30}"/>
          </ac:picMkLst>
        </pc:picChg>
        <pc:picChg chg="del">
          <ac:chgData name="Nguyễn Lê Nhật Trường" userId="b57f1783-2bfa-4d82-93dd-4655ec71c09f" providerId="ADAL" clId="{41025DA7-181F-491C-9FBD-FBB8E4B572F0}" dt="2023-06-25T07:34:07.478" v="3678" actId="478"/>
          <ac:picMkLst>
            <pc:docMk/>
            <pc:sldMk cId="159317587" sldId="325"/>
            <ac:picMk id="4" creationId="{629144B5-95FD-FF01-F584-C19873CD4908}"/>
          </ac:picMkLst>
        </pc:picChg>
        <pc:picChg chg="add mod">
          <ac:chgData name="Nguyễn Lê Nhật Trường" userId="b57f1783-2bfa-4d82-93dd-4655ec71c09f" providerId="ADAL" clId="{41025DA7-181F-491C-9FBD-FBB8E4B572F0}" dt="2023-06-26T04:55:36.880" v="5085" actId="1076"/>
          <ac:picMkLst>
            <pc:docMk/>
            <pc:sldMk cId="159317587" sldId="325"/>
            <ac:picMk id="4" creationId="{D90B5565-E529-BE64-6FD5-B8C951056D85}"/>
          </ac:picMkLst>
        </pc:picChg>
        <pc:picChg chg="add mod">
          <ac:chgData name="Nguyễn Lê Nhật Trường" userId="b57f1783-2bfa-4d82-93dd-4655ec71c09f" providerId="ADAL" clId="{41025DA7-181F-491C-9FBD-FBB8E4B572F0}" dt="2023-06-25T17:53:39.345" v="4169"/>
          <ac:picMkLst>
            <pc:docMk/>
            <pc:sldMk cId="159317587" sldId="325"/>
            <ac:picMk id="9" creationId="{8B5EA501-D9CA-1B9F-78F2-BD89C2AF73BE}"/>
          </ac:picMkLst>
        </pc:picChg>
      </pc:sldChg>
      <pc:sldChg chg="addSp delSp modSp add mod">
        <pc:chgData name="Nguyễn Lê Nhật Trường" userId="b57f1783-2bfa-4d82-93dd-4655ec71c09f" providerId="ADAL" clId="{41025DA7-181F-491C-9FBD-FBB8E4B572F0}" dt="2023-06-25T17:53:48.436" v="4172" actId="1076"/>
        <pc:sldMkLst>
          <pc:docMk/>
          <pc:sldMk cId="3931992985" sldId="326"/>
        </pc:sldMkLst>
        <pc:spChg chg="add del mod">
          <ac:chgData name="Nguyễn Lê Nhật Trường" userId="b57f1783-2bfa-4d82-93dd-4655ec71c09f" providerId="ADAL" clId="{41025DA7-181F-491C-9FBD-FBB8E4B572F0}" dt="2023-06-25T07:43:49.636" v="3791"/>
          <ac:spMkLst>
            <pc:docMk/>
            <pc:sldMk cId="3931992985" sldId="326"/>
            <ac:spMk id="4" creationId="{236C9C5A-9DD3-FA95-496D-66DADDD2CA41}"/>
          </ac:spMkLst>
        </pc:spChg>
        <pc:spChg chg="add mod">
          <ac:chgData name="Nguyễn Lê Nhật Trường" userId="b57f1783-2bfa-4d82-93dd-4655ec71c09f" providerId="ADAL" clId="{41025DA7-181F-491C-9FBD-FBB8E4B572F0}" dt="2023-06-25T07:43:49.636" v="3791"/>
          <ac:spMkLst>
            <pc:docMk/>
            <pc:sldMk cId="3931992985" sldId="326"/>
            <ac:spMk id="5" creationId="{8BDA2784-7C48-A24D-018C-0CE0B68F655C}"/>
          </ac:spMkLst>
        </pc:spChg>
        <pc:spChg chg="del">
          <ac:chgData name="Nguyễn Lê Nhật Trường" userId="b57f1783-2bfa-4d82-93dd-4655ec71c09f" providerId="ADAL" clId="{41025DA7-181F-491C-9FBD-FBB8E4B572F0}" dt="2023-06-25T07:43:48.565" v="3790" actId="478"/>
          <ac:spMkLst>
            <pc:docMk/>
            <pc:sldMk cId="3931992985" sldId="326"/>
            <ac:spMk id="7" creationId="{6C56BD45-B3D0-1482-095A-505AFDA42532}"/>
          </ac:spMkLst>
        </pc:spChg>
        <pc:picChg chg="mod modCrop">
          <ac:chgData name="Nguyễn Lê Nhật Trường" userId="b57f1783-2bfa-4d82-93dd-4655ec71c09f" providerId="ADAL" clId="{41025DA7-181F-491C-9FBD-FBB8E4B572F0}" dt="2023-06-25T17:53:48.436" v="4172" actId="1076"/>
          <ac:picMkLst>
            <pc:docMk/>
            <pc:sldMk cId="3931992985" sldId="326"/>
            <ac:picMk id="3" creationId="{5F785DB6-32D3-6DB1-3749-D585785DDD30}"/>
          </ac:picMkLst>
        </pc:picChg>
        <pc:picChg chg="add mod">
          <ac:chgData name="Nguyễn Lê Nhật Trường" userId="b57f1783-2bfa-4d82-93dd-4655ec71c09f" providerId="ADAL" clId="{41025DA7-181F-491C-9FBD-FBB8E4B572F0}" dt="2023-06-25T17:53:42.738" v="4170"/>
          <ac:picMkLst>
            <pc:docMk/>
            <pc:sldMk cId="3931992985" sldId="326"/>
            <ac:picMk id="6" creationId="{6967D114-5287-A1F8-EAF9-AA29D9675A6F}"/>
          </ac:picMkLst>
        </pc:picChg>
      </pc:sldChg>
      <pc:sldChg chg="addSp delSp modSp add mod ord">
        <pc:chgData name="Nguyễn Lê Nhật Trường" userId="b57f1783-2bfa-4d82-93dd-4655ec71c09f" providerId="ADAL" clId="{41025DA7-181F-491C-9FBD-FBB8E4B572F0}" dt="2023-06-25T17:54:07.407" v="4176" actId="1076"/>
        <pc:sldMkLst>
          <pc:docMk/>
          <pc:sldMk cId="2352795897" sldId="327"/>
        </pc:sldMkLst>
        <pc:spChg chg="add del mod">
          <ac:chgData name="Nguyễn Lê Nhật Trường" userId="b57f1783-2bfa-4d82-93dd-4655ec71c09f" providerId="ADAL" clId="{41025DA7-181F-491C-9FBD-FBB8E4B572F0}" dt="2023-06-25T07:43:55.250" v="3793"/>
          <ac:spMkLst>
            <pc:docMk/>
            <pc:sldMk cId="2352795897" sldId="327"/>
            <ac:spMk id="4" creationId="{29A052D8-FEA2-1D0D-E402-266D7829F309}"/>
          </ac:spMkLst>
        </pc:spChg>
        <pc:spChg chg="add mod">
          <ac:chgData name="Nguyễn Lê Nhật Trường" userId="b57f1783-2bfa-4d82-93dd-4655ec71c09f" providerId="ADAL" clId="{41025DA7-181F-491C-9FBD-FBB8E4B572F0}" dt="2023-06-25T07:43:55.250" v="3793"/>
          <ac:spMkLst>
            <pc:docMk/>
            <pc:sldMk cId="2352795897" sldId="327"/>
            <ac:spMk id="5" creationId="{4F2B46D5-9CA2-6531-C9E4-EA9FF5332CB9}"/>
          </ac:spMkLst>
        </pc:spChg>
        <pc:spChg chg="del">
          <ac:chgData name="Nguyễn Lê Nhật Trường" userId="b57f1783-2bfa-4d82-93dd-4655ec71c09f" providerId="ADAL" clId="{41025DA7-181F-491C-9FBD-FBB8E4B572F0}" dt="2023-06-25T07:43:54.293" v="3792" actId="478"/>
          <ac:spMkLst>
            <pc:docMk/>
            <pc:sldMk cId="2352795897" sldId="327"/>
            <ac:spMk id="7" creationId="{6C56BD45-B3D0-1482-095A-505AFDA42532}"/>
          </ac:spMkLst>
        </pc:spChg>
        <pc:picChg chg="mod modCrop">
          <ac:chgData name="Nguyễn Lê Nhật Trường" userId="b57f1783-2bfa-4d82-93dd-4655ec71c09f" providerId="ADAL" clId="{41025DA7-181F-491C-9FBD-FBB8E4B572F0}" dt="2023-06-25T17:54:07.407" v="4176" actId="1076"/>
          <ac:picMkLst>
            <pc:docMk/>
            <pc:sldMk cId="2352795897" sldId="327"/>
            <ac:picMk id="3" creationId="{5F785DB6-32D3-6DB1-3749-D585785DDD30}"/>
          </ac:picMkLst>
        </pc:picChg>
        <pc:picChg chg="add mod">
          <ac:chgData name="Nguyễn Lê Nhật Trường" userId="b57f1783-2bfa-4d82-93dd-4655ec71c09f" providerId="ADAL" clId="{41025DA7-181F-491C-9FBD-FBB8E4B572F0}" dt="2023-06-25T17:53:51.714" v="4173"/>
          <ac:picMkLst>
            <pc:docMk/>
            <pc:sldMk cId="2352795897" sldId="327"/>
            <ac:picMk id="6" creationId="{2CE5D02B-9253-F6F0-0238-4675C9C6BF5E}"/>
          </ac:picMkLst>
        </pc:picChg>
      </pc:sldChg>
      <pc:sldChg chg="addSp delSp modSp add mod modTransition">
        <pc:chgData name="Nguyễn Lê Nhật Trường" userId="b57f1783-2bfa-4d82-93dd-4655ec71c09f" providerId="ADAL" clId="{41025DA7-181F-491C-9FBD-FBB8E4B572F0}" dt="2023-06-25T17:54:44.956" v="4178" actId="14100"/>
        <pc:sldMkLst>
          <pc:docMk/>
          <pc:sldMk cId="2879408041" sldId="328"/>
        </pc:sldMkLst>
        <pc:spChg chg="add del mod">
          <ac:chgData name="Nguyễn Lê Nhật Trường" userId="b57f1783-2bfa-4d82-93dd-4655ec71c09f" providerId="ADAL" clId="{41025DA7-181F-491C-9FBD-FBB8E4B572F0}" dt="2023-06-25T07:44:00.986" v="3795"/>
          <ac:spMkLst>
            <pc:docMk/>
            <pc:sldMk cId="2879408041" sldId="328"/>
            <ac:spMk id="4" creationId="{159C0518-B830-368A-A640-C52A4351B922}"/>
          </ac:spMkLst>
        </pc:spChg>
        <pc:spChg chg="add mod">
          <ac:chgData name="Nguyễn Lê Nhật Trường" userId="b57f1783-2bfa-4d82-93dd-4655ec71c09f" providerId="ADAL" clId="{41025DA7-181F-491C-9FBD-FBB8E4B572F0}" dt="2023-06-25T07:44:00.986" v="3795"/>
          <ac:spMkLst>
            <pc:docMk/>
            <pc:sldMk cId="2879408041" sldId="328"/>
            <ac:spMk id="5" creationId="{F0FF0D5D-E4FC-A978-4EC2-4FD003158C7C}"/>
          </ac:spMkLst>
        </pc:spChg>
        <pc:spChg chg="del">
          <ac:chgData name="Nguyễn Lê Nhật Trường" userId="b57f1783-2bfa-4d82-93dd-4655ec71c09f" providerId="ADAL" clId="{41025DA7-181F-491C-9FBD-FBB8E4B572F0}" dt="2023-06-25T07:44:00.059" v="3794" actId="478"/>
          <ac:spMkLst>
            <pc:docMk/>
            <pc:sldMk cId="2879408041" sldId="328"/>
            <ac:spMk id="7" creationId="{6C56BD45-B3D0-1482-095A-505AFDA42532}"/>
          </ac:spMkLst>
        </pc:spChg>
        <pc:picChg chg="mod modCrop">
          <ac:chgData name="Nguyễn Lê Nhật Trường" userId="b57f1783-2bfa-4d82-93dd-4655ec71c09f" providerId="ADAL" clId="{41025DA7-181F-491C-9FBD-FBB8E4B572F0}" dt="2023-06-25T17:54:44.956" v="4178" actId="14100"/>
          <ac:picMkLst>
            <pc:docMk/>
            <pc:sldMk cId="2879408041" sldId="328"/>
            <ac:picMk id="3" creationId="{5F785DB6-32D3-6DB1-3749-D585785DDD30}"/>
          </ac:picMkLst>
        </pc:picChg>
        <pc:picChg chg="add mod">
          <ac:chgData name="Nguyễn Lê Nhật Trường" userId="b57f1783-2bfa-4d82-93dd-4655ec71c09f" providerId="ADAL" clId="{41025DA7-181F-491C-9FBD-FBB8E4B572F0}" dt="2023-06-25T17:53:53.997" v="4174"/>
          <ac:picMkLst>
            <pc:docMk/>
            <pc:sldMk cId="2879408041" sldId="328"/>
            <ac:picMk id="6" creationId="{C4C13198-D401-4BC7-7E4B-1348275BF0E4}"/>
          </ac:picMkLst>
        </pc:picChg>
      </pc:sldChg>
      <pc:sldChg chg="addSp delSp modSp add mod">
        <pc:chgData name="Nguyễn Lê Nhật Trường" userId="b57f1783-2bfa-4d82-93dd-4655ec71c09f" providerId="ADAL" clId="{41025DA7-181F-491C-9FBD-FBB8E4B572F0}" dt="2023-06-25T17:32:58.663" v="4000" actId="1076"/>
        <pc:sldMkLst>
          <pc:docMk/>
          <pc:sldMk cId="263209964" sldId="329"/>
        </pc:sldMkLst>
        <pc:spChg chg="del mod">
          <ac:chgData name="Nguyễn Lê Nhật Trường" userId="b57f1783-2bfa-4d82-93dd-4655ec71c09f" providerId="ADAL" clId="{41025DA7-181F-491C-9FBD-FBB8E4B572F0}" dt="2023-06-25T07:42:10.885" v="3767" actId="478"/>
          <ac:spMkLst>
            <pc:docMk/>
            <pc:sldMk cId="263209964" sldId="329"/>
            <ac:spMk id="2" creationId="{61802421-BBAF-FA0A-EA37-F2F4B389E3EE}"/>
          </ac:spMkLst>
        </pc:spChg>
        <pc:spChg chg="add del mod">
          <ac:chgData name="Nguyễn Lê Nhật Trường" userId="b57f1783-2bfa-4d82-93dd-4655ec71c09f" providerId="ADAL" clId="{41025DA7-181F-491C-9FBD-FBB8E4B572F0}" dt="2023-06-25T07:42:14.889" v="3770"/>
          <ac:spMkLst>
            <pc:docMk/>
            <pc:sldMk cId="263209964" sldId="329"/>
            <ac:spMk id="5" creationId="{9679B950-0BB5-F8EA-F670-00B7CD00A8CD}"/>
          </ac:spMkLst>
        </pc:spChg>
        <pc:spChg chg="mod">
          <ac:chgData name="Nguyễn Lê Nhật Trường" userId="b57f1783-2bfa-4d82-93dd-4655ec71c09f" providerId="ADAL" clId="{41025DA7-181F-491C-9FBD-FBB8E4B572F0}" dt="2023-06-25T17:32:56.013" v="3999" actId="1076"/>
          <ac:spMkLst>
            <pc:docMk/>
            <pc:sldMk cId="263209964" sldId="329"/>
            <ac:spMk id="6" creationId="{27D871B0-F563-8A61-343A-D0E04AA3560A}"/>
          </ac:spMkLst>
        </pc:spChg>
        <pc:spChg chg="add del mod">
          <ac:chgData name="Nguyễn Lê Nhật Trường" userId="b57f1783-2bfa-4d82-93dd-4655ec71c09f" providerId="ADAL" clId="{41025DA7-181F-491C-9FBD-FBB8E4B572F0}" dt="2023-06-25T07:42:13.266" v="3769"/>
          <ac:spMkLst>
            <pc:docMk/>
            <pc:sldMk cId="263209964" sldId="329"/>
            <ac:spMk id="8" creationId="{45019DEF-BF0F-2F63-2756-EBBAA7030A5D}"/>
          </ac:spMkLst>
        </pc:spChg>
        <pc:spChg chg="add mod ord">
          <ac:chgData name="Nguyễn Lê Nhật Trường" userId="b57f1783-2bfa-4d82-93dd-4655ec71c09f" providerId="ADAL" clId="{41025DA7-181F-491C-9FBD-FBB8E4B572F0}" dt="2023-06-25T17:32:47.087" v="3998" actId="167"/>
          <ac:spMkLst>
            <pc:docMk/>
            <pc:sldMk cId="263209964" sldId="329"/>
            <ac:spMk id="9" creationId="{F3FAE567-282B-0A57-9F96-F224FF840FD7}"/>
          </ac:spMkLst>
        </pc:spChg>
        <pc:picChg chg="mod">
          <ac:chgData name="Nguyễn Lê Nhật Trường" userId="b57f1783-2bfa-4d82-93dd-4655ec71c09f" providerId="ADAL" clId="{41025DA7-181F-491C-9FBD-FBB8E4B572F0}" dt="2023-06-25T17:32:58.663" v="4000" actId="1076"/>
          <ac:picMkLst>
            <pc:docMk/>
            <pc:sldMk cId="263209964" sldId="329"/>
            <ac:picMk id="7" creationId="{E0996F28-595A-E0D4-A4CC-C167A1F5093D}"/>
          </ac:picMkLst>
        </pc:picChg>
      </pc:sldChg>
      <pc:sldChg chg="modSp add mod">
        <pc:chgData name="Nguyễn Lê Nhật Trường" userId="b57f1783-2bfa-4d82-93dd-4655ec71c09f" providerId="ADAL" clId="{41025DA7-181F-491C-9FBD-FBB8E4B572F0}" dt="2023-06-25T07:47:28.989" v="3886" actId="20577"/>
        <pc:sldMkLst>
          <pc:docMk/>
          <pc:sldMk cId="3080597563" sldId="330"/>
        </pc:sldMkLst>
        <pc:spChg chg="mod">
          <ac:chgData name="Nguyễn Lê Nhật Trường" userId="b57f1783-2bfa-4d82-93dd-4655ec71c09f" providerId="ADAL" clId="{41025DA7-181F-491C-9FBD-FBB8E4B572F0}" dt="2023-06-25T07:47:28.989" v="3886" actId="20577"/>
          <ac:spMkLst>
            <pc:docMk/>
            <pc:sldMk cId="3080597563" sldId="330"/>
            <ac:spMk id="2" creationId="{61802421-BBAF-FA0A-EA37-F2F4B389E3EE}"/>
          </ac:spMkLst>
        </pc:spChg>
      </pc:sldChg>
      <pc:sldChg chg="addSp delSp modSp add del mod">
        <pc:chgData name="Nguyễn Lê Nhật Trường" userId="b57f1783-2bfa-4d82-93dd-4655ec71c09f" providerId="ADAL" clId="{41025DA7-181F-491C-9FBD-FBB8E4B572F0}" dt="2023-06-25T17:54:57.489" v="4179" actId="47"/>
        <pc:sldMkLst>
          <pc:docMk/>
          <pc:sldMk cId="884677418" sldId="331"/>
        </pc:sldMkLst>
        <pc:picChg chg="del">
          <ac:chgData name="Nguyễn Lê Nhật Trường" userId="b57f1783-2bfa-4d82-93dd-4655ec71c09f" providerId="ADAL" clId="{41025DA7-181F-491C-9FBD-FBB8E4B572F0}" dt="2023-06-25T07:44:48.433" v="3797" actId="478"/>
          <ac:picMkLst>
            <pc:docMk/>
            <pc:sldMk cId="884677418" sldId="331"/>
            <ac:picMk id="3" creationId="{5F785DB6-32D3-6DB1-3749-D585785DDD30}"/>
          </ac:picMkLst>
        </pc:picChg>
        <pc:picChg chg="add mod">
          <ac:chgData name="Nguyễn Lê Nhật Trường" userId="b57f1783-2bfa-4d82-93dd-4655ec71c09f" providerId="ADAL" clId="{41025DA7-181F-491C-9FBD-FBB8E4B572F0}" dt="2023-06-25T07:45:00.018" v="3799" actId="1076"/>
          <ac:picMkLst>
            <pc:docMk/>
            <pc:sldMk cId="884677418" sldId="331"/>
            <ac:picMk id="4" creationId="{610709DD-E376-9706-4D3E-FCC8313CCE32}"/>
          </ac:picMkLst>
        </pc:picChg>
      </pc:sldChg>
      <pc:sldChg chg="addSp delSp modSp add mod">
        <pc:chgData name="Nguyễn Lê Nhật Trường" userId="b57f1783-2bfa-4d82-93dd-4655ec71c09f" providerId="ADAL" clId="{41025DA7-181F-491C-9FBD-FBB8E4B572F0}" dt="2023-06-25T17:25:28.169" v="3898" actId="1076"/>
        <pc:sldMkLst>
          <pc:docMk/>
          <pc:sldMk cId="2633766935" sldId="332"/>
        </pc:sldMkLst>
        <pc:spChg chg="del">
          <ac:chgData name="Nguyễn Lê Nhật Trường" userId="b57f1783-2bfa-4d82-93dd-4655ec71c09f" providerId="ADAL" clId="{41025DA7-181F-491C-9FBD-FBB8E4B572F0}" dt="2023-06-25T07:47:41.574" v="3888" actId="478"/>
          <ac:spMkLst>
            <pc:docMk/>
            <pc:sldMk cId="2633766935" sldId="332"/>
            <ac:spMk id="2" creationId="{61802421-BBAF-FA0A-EA37-F2F4B389E3EE}"/>
          </ac:spMkLst>
        </pc:spChg>
        <pc:spChg chg="add del mod">
          <ac:chgData name="Nguyễn Lê Nhật Trường" userId="b57f1783-2bfa-4d82-93dd-4655ec71c09f" providerId="ADAL" clId="{41025DA7-181F-491C-9FBD-FBB8E4B572F0}" dt="2023-06-25T17:24:57.982" v="3893" actId="478"/>
          <ac:spMkLst>
            <pc:docMk/>
            <pc:sldMk cId="2633766935" sldId="332"/>
            <ac:spMk id="5" creationId="{A5B35872-4DED-12C9-3AE5-7FCE546D230F}"/>
          </ac:spMkLst>
        </pc:spChg>
        <pc:picChg chg="add del">
          <ac:chgData name="Nguyễn Lê Nhật Trường" userId="b57f1783-2bfa-4d82-93dd-4655ec71c09f" providerId="ADAL" clId="{41025DA7-181F-491C-9FBD-FBB8E4B572F0}" dt="2023-06-25T17:24:55.763" v="3892" actId="22"/>
          <ac:picMkLst>
            <pc:docMk/>
            <pc:sldMk cId="2633766935" sldId="332"/>
            <ac:picMk id="7" creationId="{49E30223-6C1D-3CB0-AA11-6C7A86A759FF}"/>
          </ac:picMkLst>
        </pc:picChg>
        <pc:picChg chg="add del">
          <ac:chgData name="Nguyễn Lê Nhật Trường" userId="b57f1783-2bfa-4d82-93dd-4655ec71c09f" providerId="ADAL" clId="{41025DA7-181F-491C-9FBD-FBB8E4B572F0}" dt="2023-06-25T17:24:54.188" v="3891" actId="22"/>
          <ac:picMkLst>
            <pc:docMk/>
            <pc:sldMk cId="2633766935" sldId="332"/>
            <ac:picMk id="9" creationId="{2F0BF5F4-5910-89B0-DFFC-FB9C72634258}"/>
          </ac:picMkLst>
        </pc:picChg>
        <pc:picChg chg="add mod modCrop">
          <ac:chgData name="Nguyễn Lê Nhật Trường" userId="b57f1783-2bfa-4d82-93dd-4655ec71c09f" providerId="ADAL" clId="{41025DA7-181F-491C-9FBD-FBB8E4B572F0}" dt="2023-06-25T17:25:28.169" v="3898" actId="1076"/>
          <ac:picMkLst>
            <pc:docMk/>
            <pc:sldMk cId="2633766935" sldId="332"/>
            <ac:picMk id="11" creationId="{47D2079D-88F2-1529-78C3-AD59F7BCD5D1}"/>
          </ac:picMkLst>
        </pc:picChg>
      </pc:sldChg>
      <pc:sldChg chg="modSp mod">
        <pc:chgData name="Nguyễn Lê Nhật Trường" userId="b57f1783-2bfa-4d82-93dd-4655ec71c09f" providerId="ADAL" clId="{41025DA7-181F-491C-9FBD-FBB8E4B572F0}" dt="2023-06-26T05:09:55.323" v="5214" actId="403"/>
        <pc:sldMkLst>
          <pc:docMk/>
          <pc:sldMk cId="1871160985" sldId="333"/>
        </pc:sldMkLst>
        <pc:spChg chg="mod">
          <ac:chgData name="Nguyễn Lê Nhật Trường" userId="b57f1783-2bfa-4d82-93dd-4655ec71c09f" providerId="ADAL" clId="{41025DA7-181F-491C-9FBD-FBB8E4B572F0}" dt="2023-06-26T05:09:55.323" v="5214" actId="403"/>
          <ac:spMkLst>
            <pc:docMk/>
            <pc:sldMk cId="1871160985" sldId="333"/>
            <ac:spMk id="3" creationId="{483EB76D-DCD7-8849-23CF-9EC6A15958B8}"/>
          </ac:spMkLst>
        </pc:spChg>
      </pc:sldChg>
      <pc:sldChg chg="modSp mod">
        <pc:chgData name="Nguyễn Lê Nhật Trường" userId="b57f1783-2bfa-4d82-93dd-4655ec71c09f" providerId="ADAL" clId="{41025DA7-181F-491C-9FBD-FBB8E4B572F0}" dt="2023-06-26T05:10:22.880" v="5271" actId="403"/>
        <pc:sldMkLst>
          <pc:docMk/>
          <pc:sldMk cId="3924228562" sldId="334"/>
        </pc:sldMkLst>
        <pc:spChg chg="mod">
          <ac:chgData name="Nguyễn Lê Nhật Trường" userId="b57f1783-2bfa-4d82-93dd-4655ec71c09f" providerId="ADAL" clId="{41025DA7-181F-491C-9FBD-FBB8E4B572F0}" dt="2023-06-26T05:10:22.880" v="5271" actId="403"/>
          <ac:spMkLst>
            <pc:docMk/>
            <pc:sldMk cId="3924228562" sldId="334"/>
            <ac:spMk id="3" creationId="{483EB76D-DCD7-8849-23CF-9EC6A15958B8}"/>
          </ac:spMkLst>
        </pc:spChg>
        <pc:picChg chg="mod modCrop">
          <ac:chgData name="Nguyễn Lê Nhật Trường" userId="b57f1783-2bfa-4d82-93dd-4655ec71c09f" providerId="ADAL" clId="{41025DA7-181F-491C-9FBD-FBB8E4B572F0}" dt="2023-06-25T17:26:14.241" v="3902" actId="1076"/>
          <ac:picMkLst>
            <pc:docMk/>
            <pc:sldMk cId="3924228562" sldId="334"/>
            <ac:picMk id="5" creationId="{344358B0-AF30-5233-9F7F-D3127B39AAC5}"/>
          </ac:picMkLst>
        </pc:picChg>
      </pc:sldChg>
      <pc:sldChg chg="modSp add mod modTransition">
        <pc:chgData name="Nguyễn Lê Nhật Trường" userId="b57f1783-2bfa-4d82-93dd-4655ec71c09f" providerId="ADAL" clId="{41025DA7-181F-491C-9FBD-FBB8E4B572F0}" dt="2023-06-25T17:28:55.300" v="3908" actId="732"/>
        <pc:sldMkLst>
          <pc:docMk/>
          <pc:sldMk cId="988115687" sldId="335"/>
        </pc:sldMkLst>
        <pc:picChg chg="mod modCrop">
          <ac:chgData name="Nguyễn Lê Nhật Trường" userId="b57f1783-2bfa-4d82-93dd-4655ec71c09f" providerId="ADAL" clId="{41025DA7-181F-491C-9FBD-FBB8E4B572F0}" dt="2023-06-25T17:28:55.300" v="3908" actId="732"/>
          <ac:picMkLst>
            <pc:docMk/>
            <pc:sldMk cId="988115687" sldId="335"/>
            <ac:picMk id="11" creationId="{47D2079D-88F2-1529-78C3-AD59F7BCD5D1}"/>
          </ac:picMkLst>
        </pc:picChg>
      </pc:sldChg>
      <pc:sldChg chg="addSp delSp modSp add mod ord modTransition">
        <pc:chgData name="Nguyễn Lê Nhật Trường" userId="b57f1783-2bfa-4d82-93dd-4655ec71c09f" providerId="ADAL" clId="{41025DA7-181F-491C-9FBD-FBB8E4B572F0}" dt="2023-06-25T17:39:07.329" v="4027"/>
        <pc:sldMkLst>
          <pc:docMk/>
          <pc:sldMk cId="3183152871" sldId="336"/>
        </pc:sldMkLst>
        <pc:spChg chg="mod">
          <ac:chgData name="Nguyễn Lê Nhật Trường" userId="b57f1783-2bfa-4d82-93dd-4655ec71c09f" providerId="ADAL" clId="{41025DA7-181F-491C-9FBD-FBB8E4B572F0}" dt="2023-06-25T17:38:40.829" v="4024" actId="1076"/>
          <ac:spMkLst>
            <pc:docMk/>
            <pc:sldMk cId="3183152871" sldId="336"/>
            <ac:spMk id="5" creationId="{9B5B979A-6177-6A5A-C2DE-FEA16EFEBC0F}"/>
          </ac:spMkLst>
        </pc:spChg>
        <pc:spChg chg="del">
          <ac:chgData name="Nguyễn Lê Nhật Trường" userId="b57f1783-2bfa-4d82-93dd-4655ec71c09f" providerId="ADAL" clId="{41025DA7-181F-491C-9FBD-FBB8E4B572F0}" dt="2023-06-25T17:36:31.720" v="4012" actId="478"/>
          <ac:spMkLst>
            <pc:docMk/>
            <pc:sldMk cId="3183152871" sldId="336"/>
            <ac:spMk id="11" creationId="{14EDFC6E-9679-B503-CADF-35ACC0740B12}"/>
          </ac:spMkLst>
        </pc:spChg>
        <pc:picChg chg="add del mod">
          <ac:chgData name="Nguyễn Lê Nhật Trường" userId="b57f1783-2bfa-4d82-93dd-4655ec71c09f" providerId="ADAL" clId="{41025DA7-181F-491C-9FBD-FBB8E4B572F0}" dt="2023-06-25T17:38:30.859" v="4023" actId="478"/>
          <ac:picMkLst>
            <pc:docMk/>
            <pc:sldMk cId="3183152871" sldId="336"/>
            <ac:picMk id="3" creationId="{019A3D32-7A04-1C59-CD97-4FD9CDB3AA79}"/>
          </ac:picMkLst>
        </pc:picChg>
        <pc:picChg chg="add del mod">
          <ac:chgData name="Nguyễn Lê Nhật Trường" userId="b57f1783-2bfa-4d82-93dd-4655ec71c09f" providerId="ADAL" clId="{41025DA7-181F-491C-9FBD-FBB8E4B572F0}" dt="2023-06-25T17:38:28.678" v="4022" actId="478"/>
          <ac:picMkLst>
            <pc:docMk/>
            <pc:sldMk cId="3183152871" sldId="336"/>
            <ac:picMk id="6" creationId="{3684FF19-84FD-AA9F-2347-E15F126CC4EF}"/>
          </ac:picMkLst>
        </pc:picChg>
        <pc:picChg chg="del">
          <ac:chgData name="Nguyễn Lê Nhật Trường" userId="b57f1783-2bfa-4d82-93dd-4655ec71c09f" providerId="ADAL" clId="{41025DA7-181F-491C-9FBD-FBB8E4B572F0}" dt="2023-06-25T17:36:51.735" v="4017" actId="478"/>
          <ac:picMkLst>
            <pc:docMk/>
            <pc:sldMk cId="3183152871" sldId="336"/>
            <ac:picMk id="9" creationId="{809448FD-6F78-875C-1C70-64BC5CA1DE28}"/>
          </ac:picMkLst>
        </pc:picChg>
        <pc:picChg chg="add mod">
          <ac:chgData name="Nguyễn Lê Nhật Trường" userId="b57f1783-2bfa-4d82-93dd-4655ec71c09f" providerId="ADAL" clId="{41025DA7-181F-491C-9FBD-FBB8E4B572F0}" dt="2023-06-25T17:38:40.829" v="4024" actId="1076"/>
          <ac:picMkLst>
            <pc:docMk/>
            <pc:sldMk cId="3183152871" sldId="336"/>
            <ac:picMk id="10" creationId="{C47E4820-F255-15C5-F73D-04F7AF721E21}"/>
          </ac:picMkLst>
        </pc:picChg>
      </pc:sldChg>
      <pc:sldChg chg="addSp delSp modSp add mod modTransition">
        <pc:chgData name="Nguyễn Lê Nhật Trường" userId="b57f1783-2bfa-4d82-93dd-4655ec71c09f" providerId="ADAL" clId="{41025DA7-181F-491C-9FBD-FBB8E4B572F0}" dt="2023-06-25T17:41:09.134" v="4086"/>
        <pc:sldMkLst>
          <pc:docMk/>
          <pc:sldMk cId="3288807718" sldId="337"/>
        </pc:sldMkLst>
        <pc:spChg chg="add mod">
          <ac:chgData name="Nguyễn Lê Nhật Trường" userId="b57f1783-2bfa-4d82-93dd-4655ec71c09f" providerId="ADAL" clId="{41025DA7-181F-491C-9FBD-FBB8E4B572F0}" dt="2023-06-25T17:40:26.880" v="4080" actId="207"/>
          <ac:spMkLst>
            <pc:docMk/>
            <pc:sldMk cId="3288807718" sldId="337"/>
            <ac:spMk id="2" creationId="{AC45C66A-6A51-77B7-422E-68DC75005974}"/>
          </ac:spMkLst>
        </pc:spChg>
        <pc:spChg chg="add mod">
          <ac:chgData name="Nguyễn Lê Nhật Trường" userId="b57f1783-2bfa-4d82-93dd-4655ec71c09f" providerId="ADAL" clId="{41025DA7-181F-491C-9FBD-FBB8E4B572F0}" dt="2023-06-25T17:40:33.280" v="4082" actId="1076"/>
          <ac:spMkLst>
            <pc:docMk/>
            <pc:sldMk cId="3288807718" sldId="337"/>
            <ac:spMk id="4" creationId="{13494320-294D-5BB1-5A2A-0C89489FE606}"/>
          </ac:spMkLst>
        </pc:spChg>
        <pc:spChg chg="add del mod">
          <ac:chgData name="Nguyễn Lê Nhật Trường" userId="b57f1783-2bfa-4d82-93dd-4655ec71c09f" providerId="ADAL" clId="{41025DA7-181F-491C-9FBD-FBB8E4B572F0}" dt="2023-06-25T17:40:54.658" v="4085" actId="478"/>
          <ac:spMkLst>
            <pc:docMk/>
            <pc:sldMk cId="3288807718" sldId="337"/>
            <ac:spMk id="5" creationId="{53748E67-5A88-B763-DBE3-F7005D1AE428}"/>
          </ac:spMkLst>
        </pc:spChg>
      </pc:sldChg>
      <pc:sldChg chg="addSp delSp modSp add mod ord">
        <pc:chgData name="Nguyễn Lê Nhật Trường" userId="b57f1783-2bfa-4d82-93dd-4655ec71c09f" providerId="ADAL" clId="{41025DA7-181F-491C-9FBD-FBB8E4B572F0}" dt="2023-06-25T17:45:05.745" v="4132" actId="14861"/>
        <pc:sldMkLst>
          <pc:docMk/>
          <pc:sldMk cId="449558602" sldId="338"/>
        </pc:sldMkLst>
        <pc:spChg chg="add del">
          <ac:chgData name="Nguyễn Lê Nhật Trường" userId="b57f1783-2bfa-4d82-93dd-4655ec71c09f" providerId="ADAL" clId="{41025DA7-181F-491C-9FBD-FBB8E4B572F0}" dt="2023-06-25T17:41:31.699" v="4089" actId="22"/>
          <ac:spMkLst>
            <pc:docMk/>
            <pc:sldMk cId="449558602" sldId="338"/>
            <ac:spMk id="3" creationId="{F10D17C5-A1E0-B78F-6B13-81F42BACB75E}"/>
          </ac:spMkLst>
        </pc:spChg>
        <pc:spChg chg="add mod">
          <ac:chgData name="Nguyễn Lê Nhật Trường" userId="b57f1783-2bfa-4d82-93dd-4655ec71c09f" providerId="ADAL" clId="{41025DA7-181F-491C-9FBD-FBB8E4B572F0}" dt="2023-06-25T17:45:05.745" v="4132" actId="14861"/>
          <ac:spMkLst>
            <pc:docMk/>
            <pc:sldMk cId="449558602" sldId="338"/>
            <ac:spMk id="6" creationId="{859DB5E6-5E6F-3E57-E472-74D241FD1215}"/>
          </ac:spMkLst>
        </pc:spChg>
      </pc:sldChg>
      <pc:sldChg chg="modSp add mod">
        <pc:chgData name="Nguyễn Lê Nhật Trường" userId="b57f1783-2bfa-4d82-93dd-4655ec71c09f" providerId="ADAL" clId="{41025DA7-181F-491C-9FBD-FBB8E4B572F0}" dt="2023-06-25T17:46:00.878" v="4135" actId="14100"/>
        <pc:sldMkLst>
          <pc:docMk/>
          <pc:sldMk cId="2091098273" sldId="339"/>
        </pc:sldMkLst>
        <pc:spChg chg="mod">
          <ac:chgData name="Nguyễn Lê Nhật Trường" userId="b57f1783-2bfa-4d82-93dd-4655ec71c09f" providerId="ADAL" clId="{41025DA7-181F-491C-9FBD-FBB8E4B572F0}" dt="2023-06-25T17:46:00.878" v="4135" actId="14100"/>
          <ac:spMkLst>
            <pc:docMk/>
            <pc:sldMk cId="2091098273" sldId="339"/>
            <ac:spMk id="6" creationId="{859DB5E6-5E6F-3E57-E472-74D241FD1215}"/>
          </ac:spMkLst>
        </pc:spChg>
      </pc:sldChg>
      <pc:sldChg chg="addSp delSp modSp add mod modTransition">
        <pc:chgData name="Nguyễn Lê Nhật Trường" userId="b57f1783-2bfa-4d82-93dd-4655ec71c09f" providerId="ADAL" clId="{41025DA7-181F-491C-9FBD-FBB8E4B572F0}" dt="2023-06-25T17:49:11.923" v="4156" actId="478"/>
        <pc:sldMkLst>
          <pc:docMk/>
          <pc:sldMk cId="510866402" sldId="340"/>
        </pc:sldMkLst>
        <pc:spChg chg="add del mod">
          <ac:chgData name="Nguyễn Lê Nhật Trường" userId="b57f1783-2bfa-4d82-93dd-4655ec71c09f" providerId="ADAL" clId="{41025DA7-181F-491C-9FBD-FBB8E4B572F0}" dt="2023-06-25T17:49:09.031" v="4154" actId="478"/>
          <ac:spMkLst>
            <pc:docMk/>
            <pc:sldMk cId="510866402" sldId="340"/>
            <ac:spMk id="6" creationId="{6EA0D257-7127-B69F-FB85-D2B2C1BD5BD8}"/>
          </ac:spMkLst>
        </pc:spChg>
        <pc:spChg chg="add del mod">
          <ac:chgData name="Nguyễn Lê Nhật Trường" userId="b57f1783-2bfa-4d82-93dd-4655ec71c09f" providerId="ADAL" clId="{41025DA7-181F-491C-9FBD-FBB8E4B572F0}" dt="2023-06-25T17:49:10.456" v="4155" actId="478"/>
          <ac:spMkLst>
            <pc:docMk/>
            <pc:sldMk cId="510866402" sldId="340"/>
            <ac:spMk id="7" creationId="{5C7F254B-EABE-8B87-2263-292EDD842B92}"/>
          </ac:spMkLst>
        </pc:spChg>
        <pc:spChg chg="add del mod">
          <ac:chgData name="Nguyễn Lê Nhật Trường" userId="b57f1783-2bfa-4d82-93dd-4655ec71c09f" providerId="ADAL" clId="{41025DA7-181F-491C-9FBD-FBB8E4B572F0}" dt="2023-06-25T17:49:11.923" v="4156" actId="478"/>
          <ac:spMkLst>
            <pc:docMk/>
            <pc:sldMk cId="510866402" sldId="340"/>
            <ac:spMk id="8" creationId="{827E5FFD-E494-66A0-D1CC-072114C7E1E6}"/>
          </ac:spMkLst>
        </pc:spChg>
        <pc:picChg chg="add mod">
          <ac:chgData name="Nguyễn Lê Nhật Trường" userId="b57f1783-2bfa-4d82-93dd-4655ec71c09f" providerId="ADAL" clId="{41025DA7-181F-491C-9FBD-FBB8E4B572F0}" dt="2023-06-25T17:47:12.076" v="4140" actId="1076"/>
          <ac:picMkLst>
            <pc:docMk/>
            <pc:sldMk cId="510866402" sldId="340"/>
            <ac:picMk id="3" creationId="{83C8223C-AA04-02BF-1FCC-BF922273E27E}"/>
          </ac:picMkLst>
        </pc:picChg>
        <pc:picChg chg="del">
          <ac:chgData name="Nguyễn Lê Nhật Trường" userId="b57f1783-2bfa-4d82-93dd-4655ec71c09f" providerId="ADAL" clId="{41025DA7-181F-491C-9FBD-FBB8E4B572F0}" dt="2023-06-25T17:47:01.249" v="4137" actId="478"/>
          <ac:picMkLst>
            <pc:docMk/>
            <pc:sldMk cId="510866402" sldId="340"/>
            <ac:picMk id="4" creationId="{629144B5-95FD-FF01-F584-C19873CD4908}"/>
          </ac:picMkLst>
        </pc:picChg>
      </pc:sldChg>
      <pc:sldChg chg="addSp modSp add mod modTransition">
        <pc:chgData name="Nguyễn Lê Nhật Trường" userId="b57f1783-2bfa-4d82-93dd-4655ec71c09f" providerId="ADAL" clId="{41025DA7-181F-491C-9FBD-FBB8E4B572F0}" dt="2023-06-25T17:51:38.338" v="4168" actId="14100"/>
        <pc:sldMkLst>
          <pc:docMk/>
          <pc:sldMk cId="1777388429" sldId="341"/>
        </pc:sldMkLst>
        <pc:cxnChg chg="add mod">
          <ac:chgData name="Nguyễn Lê Nhật Trường" userId="b57f1783-2bfa-4d82-93dd-4655ec71c09f" providerId="ADAL" clId="{41025DA7-181F-491C-9FBD-FBB8E4B572F0}" dt="2023-06-25T17:51:38.338" v="4168" actId="14100"/>
          <ac:cxnSpMkLst>
            <pc:docMk/>
            <pc:sldMk cId="1777388429" sldId="341"/>
            <ac:cxnSpMk id="4" creationId="{F9C92765-0FA0-656C-7C0A-6427FDA7CE15}"/>
          </ac:cxnSpMkLst>
        </pc:cxnChg>
        <pc:cxnChg chg="add mod">
          <ac:chgData name="Nguyễn Lê Nhật Trường" userId="b57f1783-2bfa-4d82-93dd-4655ec71c09f" providerId="ADAL" clId="{41025DA7-181F-491C-9FBD-FBB8E4B572F0}" dt="2023-06-25T17:51:32.413" v="4167" actId="14100"/>
          <ac:cxnSpMkLst>
            <pc:docMk/>
            <pc:sldMk cId="1777388429" sldId="341"/>
            <ac:cxnSpMk id="11" creationId="{A4553FDC-E91B-F67A-0CC9-412866B429E7}"/>
          </ac:cxnSpMkLst>
        </pc:cxnChg>
      </pc:sldChg>
      <pc:sldChg chg="addSp delSp modSp add del mod modClrScheme chgLayout">
        <pc:chgData name="Nguyễn Lê Nhật Trường" userId="b57f1783-2bfa-4d82-93dd-4655ec71c09f" providerId="ADAL" clId="{41025DA7-181F-491C-9FBD-FBB8E4B572F0}" dt="2023-06-25T18:42:50.636" v="4418" actId="47"/>
        <pc:sldMkLst>
          <pc:docMk/>
          <pc:sldMk cId="2307945605" sldId="342"/>
        </pc:sldMkLst>
        <pc:spChg chg="add del mod ord">
          <ac:chgData name="Nguyễn Lê Nhật Trường" userId="b57f1783-2bfa-4d82-93dd-4655ec71c09f" providerId="ADAL" clId="{41025DA7-181F-491C-9FBD-FBB8E4B572F0}" dt="2023-06-25T18:42:37.051" v="4416" actId="700"/>
          <ac:spMkLst>
            <pc:docMk/>
            <pc:sldMk cId="2307945605" sldId="342"/>
            <ac:spMk id="2" creationId="{D3279471-8F2E-EED5-82F5-37BC2C711B71}"/>
          </ac:spMkLst>
        </pc:spChg>
        <pc:spChg chg="add del mod ord">
          <ac:chgData name="Nguyễn Lê Nhật Trường" userId="b57f1783-2bfa-4d82-93dd-4655ec71c09f" providerId="ADAL" clId="{41025DA7-181F-491C-9FBD-FBB8E4B572F0}" dt="2023-06-25T18:42:37.051" v="4416" actId="700"/>
          <ac:spMkLst>
            <pc:docMk/>
            <pc:sldMk cId="2307945605" sldId="342"/>
            <ac:spMk id="4" creationId="{42E48889-87AF-9A9D-B282-0C4462F19A8C}"/>
          </ac:spMkLst>
        </pc:spChg>
        <pc:spChg chg="mod ord">
          <ac:chgData name="Nguyễn Lê Nhật Trường" userId="b57f1783-2bfa-4d82-93dd-4655ec71c09f" providerId="ADAL" clId="{41025DA7-181F-491C-9FBD-FBB8E4B572F0}" dt="2023-06-25T18:42:43.150" v="4417" actId="6264"/>
          <ac:spMkLst>
            <pc:docMk/>
            <pc:sldMk cId="2307945605" sldId="342"/>
            <ac:spMk id="5" creationId="{F0FF0D5D-E4FC-A978-4EC2-4FD003158C7C}"/>
          </ac:spMkLst>
        </pc:spChg>
        <pc:spChg chg="add del mod">
          <ac:chgData name="Nguyễn Lê Nhật Trường" userId="b57f1783-2bfa-4d82-93dd-4655ec71c09f" providerId="ADAL" clId="{41025DA7-181F-491C-9FBD-FBB8E4B572F0}" dt="2023-06-25T18:42:43.150" v="4417" actId="6264"/>
          <ac:spMkLst>
            <pc:docMk/>
            <pc:sldMk cId="2307945605" sldId="342"/>
            <ac:spMk id="7" creationId="{6AF6CC18-1335-E5AE-1B8D-6F116CEAEC88}"/>
          </ac:spMkLst>
        </pc:spChg>
        <pc:picChg chg="del">
          <ac:chgData name="Nguyễn Lê Nhật Trường" userId="b57f1783-2bfa-4d82-93dd-4655ec71c09f" providerId="ADAL" clId="{41025DA7-181F-491C-9FBD-FBB8E4B572F0}" dt="2023-06-25T17:55:56.943" v="4193" actId="478"/>
          <ac:picMkLst>
            <pc:docMk/>
            <pc:sldMk cId="2307945605" sldId="342"/>
            <ac:picMk id="3" creationId="{5F785DB6-32D3-6DB1-3749-D585785DDD30}"/>
          </ac:picMkLst>
        </pc:picChg>
        <pc:picChg chg="del mod">
          <ac:chgData name="Nguyễn Lê Nhật Trường" userId="b57f1783-2bfa-4d82-93dd-4655ec71c09f" providerId="ADAL" clId="{41025DA7-181F-491C-9FBD-FBB8E4B572F0}" dt="2023-06-25T17:55:59.045" v="4195" actId="478"/>
          <ac:picMkLst>
            <pc:docMk/>
            <pc:sldMk cId="2307945605" sldId="342"/>
            <ac:picMk id="6" creationId="{C4C13198-D401-4BC7-7E4B-1348275BF0E4}"/>
          </ac:picMkLst>
        </pc:picChg>
      </pc:sldChg>
      <pc:sldChg chg="addSp delSp modSp add mod">
        <pc:chgData name="Nguyễn Lê Nhật Trường" userId="b57f1783-2bfa-4d82-93dd-4655ec71c09f" providerId="ADAL" clId="{41025DA7-181F-491C-9FBD-FBB8E4B572F0}" dt="2023-06-25T18:09:54.531" v="4288" actId="1076"/>
        <pc:sldMkLst>
          <pc:docMk/>
          <pc:sldMk cId="2427216886" sldId="343"/>
        </pc:sldMkLst>
        <pc:spChg chg="mod">
          <ac:chgData name="Nguyễn Lê Nhật Trường" userId="b57f1783-2bfa-4d82-93dd-4655ec71c09f" providerId="ADAL" clId="{41025DA7-181F-491C-9FBD-FBB8E4B572F0}" dt="2023-06-25T17:56:59.909" v="4202"/>
          <ac:spMkLst>
            <pc:docMk/>
            <pc:sldMk cId="2427216886" sldId="343"/>
            <ac:spMk id="5" creationId="{F0FF0D5D-E4FC-A978-4EC2-4FD003158C7C}"/>
          </ac:spMkLst>
        </pc:spChg>
        <pc:picChg chg="add del mod">
          <ac:chgData name="Nguyễn Lê Nhật Trường" userId="b57f1783-2bfa-4d82-93dd-4655ec71c09f" providerId="ADAL" clId="{41025DA7-181F-491C-9FBD-FBB8E4B572F0}" dt="2023-06-25T18:05:12.140" v="4230" actId="478"/>
          <ac:picMkLst>
            <pc:docMk/>
            <pc:sldMk cId="2427216886" sldId="343"/>
            <ac:picMk id="3" creationId="{B65D5D35-342A-2E01-F2FE-FEF5675D47E1}"/>
          </ac:picMkLst>
        </pc:picChg>
        <pc:picChg chg="add mod ord">
          <ac:chgData name="Nguyễn Lê Nhật Trường" userId="b57f1783-2bfa-4d82-93dd-4655ec71c09f" providerId="ADAL" clId="{41025DA7-181F-491C-9FBD-FBB8E4B572F0}" dt="2023-06-25T18:04:04.472" v="4228" actId="167"/>
          <ac:picMkLst>
            <pc:docMk/>
            <pc:sldMk cId="2427216886" sldId="343"/>
            <ac:picMk id="6" creationId="{0E463DAD-3091-A1BF-0019-DE5D70AE2191}"/>
          </ac:picMkLst>
        </pc:picChg>
        <pc:picChg chg="add mod modCrop">
          <ac:chgData name="Nguyễn Lê Nhật Trường" userId="b57f1783-2bfa-4d82-93dd-4655ec71c09f" providerId="ADAL" clId="{41025DA7-181F-491C-9FBD-FBB8E4B572F0}" dt="2023-06-25T18:09:51.807" v="4287" actId="1076"/>
          <ac:picMkLst>
            <pc:docMk/>
            <pc:sldMk cId="2427216886" sldId="343"/>
            <ac:picMk id="8" creationId="{13D6D9A5-8204-CF52-CDAF-B2A64BFDB138}"/>
          </ac:picMkLst>
        </pc:picChg>
        <pc:picChg chg="add mod">
          <ac:chgData name="Nguyễn Lê Nhật Trường" userId="b57f1783-2bfa-4d82-93dd-4655ec71c09f" providerId="ADAL" clId="{41025DA7-181F-491C-9FBD-FBB8E4B572F0}" dt="2023-06-25T18:09:54.531" v="4288" actId="1076"/>
          <ac:picMkLst>
            <pc:docMk/>
            <pc:sldMk cId="2427216886" sldId="343"/>
            <ac:picMk id="10" creationId="{ED6DBBD5-8792-CB7C-079B-3851E510F4B7}"/>
          </ac:picMkLst>
        </pc:picChg>
      </pc:sldChg>
      <pc:sldChg chg="add">
        <pc:chgData name="Nguyễn Lê Nhật Trường" userId="b57f1783-2bfa-4d82-93dd-4655ec71c09f" providerId="ADAL" clId="{41025DA7-181F-491C-9FBD-FBB8E4B572F0}" dt="2023-06-25T17:59:17.364" v="4215"/>
        <pc:sldMkLst>
          <pc:docMk/>
          <pc:sldMk cId="1477643784" sldId="344"/>
        </pc:sldMkLst>
      </pc:sldChg>
      <pc:sldChg chg="modSp add ord modAnim">
        <pc:chgData name="Nguyễn Lê Nhật Trường" userId="b57f1783-2bfa-4d82-93dd-4655ec71c09f" providerId="ADAL" clId="{41025DA7-181F-491C-9FBD-FBB8E4B572F0}" dt="2023-06-25T19:14:01.879" v="5016"/>
        <pc:sldMkLst>
          <pc:docMk/>
          <pc:sldMk cId="2921881986" sldId="345"/>
        </pc:sldMkLst>
        <pc:spChg chg="mod">
          <ac:chgData name="Nguyễn Lê Nhật Trường" userId="b57f1783-2bfa-4d82-93dd-4655ec71c09f" providerId="ADAL" clId="{41025DA7-181F-491C-9FBD-FBB8E4B572F0}" dt="2023-06-25T19:08:05.946" v="4878" actId="20577"/>
          <ac:spMkLst>
            <pc:docMk/>
            <pc:sldMk cId="2921881986" sldId="345"/>
            <ac:spMk id="4" creationId="{5472B909-8FB4-4DCB-B301-E6B5777D9F5C}"/>
          </ac:spMkLst>
        </pc:spChg>
        <pc:spChg chg="mod">
          <ac:chgData name="Nguyễn Lê Nhật Trường" userId="b57f1783-2bfa-4d82-93dd-4655ec71c09f" providerId="ADAL" clId="{41025DA7-181F-491C-9FBD-FBB8E4B572F0}" dt="2023-06-25T19:08:18.877" v="4880"/>
          <ac:spMkLst>
            <pc:docMk/>
            <pc:sldMk cId="2921881986" sldId="345"/>
            <ac:spMk id="5" creationId="{F886CE96-D249-4118-8233-F8A33F2A0EC9}"/>
          </ac:spMkLst>
        </pc:spChg>
        <pc:spChg chg="mod">
          <ac:chgData name="Nguyễn Lê Nhật Trường" userId="b57f1783-2bfa-4d82-93dd-4655ec71c09f" providerId="ADAL" clId="{41025DA7-181F-491C-9FBD-FBB8E4B572F0}" dt="2023-06-25T19:08:53.509" v="4882"/>
          <ac:spMkLst>
            <pc:docMk/>
            <pc:sldMk cId="2921881986" sldId="345"/>
            <ac:spMk id="6" creationId="{41B65E3A-D3CD-47E1-A5B9-15A72A119B31}"/>
          </ac:spMkLst>
        </pc:spChg>
        <pc:spChg chg="mod">
          <ac:chgData name="Nguyễn Lê Nhật Trường" userId="b57f1783-2bfa-4d82-93dd-4655ec71c09f" providerId="ADAL" clId="{41025DA7-181F-491C-9FBD-FBB8E4B572F0}" dt="2023-06-25T19:13:28.095" v="5015" actId="20577"/>
          <ac:spMkLst>
            <pc:docMk/>
            <pc:sldMk cId="2921881986" sldId="345"/>
            <ac:spMk id="7" creationId="{CFDC3D3F-9648-4656-9F9E-235511A1D77B}"/>
          </ac:spMkLst>
        </pc:spChg>
      </pc:sldChg>
      <pc:sldChg chg="addSp modSp add mod modAnim">
        <pc:chgData name="Nguyễn Lê Nhật Trường" userId="b57f1783-2bfa-4d82-93dd-4655ec71c09f" providerId="ADAL" clId="{41025DA7-181F-491C-9FBD-FBB8E4B572F0}" dt="2023-06-25T18:09:17.597" v="4284"/>
        <pc:sldMkLst>
          <pc:docMk/>
          <pc:sldMk cId="3470457490" sldId="346"/>
        </pc:sldMkLst>
        <pc:spChg chg="add mod">
          <ac:chgData name="Nguyễn Lê Nhật Trường" userId="b57f1783-2bfa-4d82-93dd-4655ec71c09f" providerId="ADAL" clId="{41025DA7-181F-491C-9FBD-FBB8E4B572F0}" dt="2023-06-25T18:06:41.532" v="4249" actId="1037"/>
          <ac:spMkLst>
            <pc:docMk/>
            <pc:sldMk cId="3470457490" sldId="346"/>
            <ac:spMk id="2" creationId="{1C427350-C85D-386B-AA40-637C11C03D7B}"/>
          </ac:spMkLst>
        </pc:spChg>
        <pc:spChg chg="add mod">
          <ac:chgData name="Nguyễn Lê Nhật Trường" userId="b57f1783-2bfa-4d82-93dd-4655ec71c09f" providerId="ADAL" clId="{41025DA7-181F-491C-9FBD-FBB8E4B572F0}" dt="2023-06-25T18:06:54.524" v="4252" actId="14100"/>
          <ac:spMkLst>
            <pc:docMk/>
            <pc:sldMk cId="3470457490" sldId="346"/>
            <ac:spMk id="4" creationId="{108B2953-628F-EA26-FAB1-3B56B228AB5E}"/>
          </ac:spMkLst>
        </pc:spChg>
        <pc:spChg chg="add mod">
          <ac:chgData name="Nguyễn Lê Nhật Trường" userId="b57f1783-2bfa-4d82-93dd-4655ec71c09f" providerId="ADAL" clId="{41025DA7-181F-491C-9FBD-FBB8E4B572F0}" dt="2023-06-25T18:07:06.226" v="4254" actId="1076"/>
          <ac:spMkLst>
            <pc:docMk/>
            <pc:sldMk cId="3470457490" sldId="346"/>
            <ac:spMk id="7" creationId="{D3CFA1EB-ADD5-9D69-6F41-28AF22689F33}"/>
          </ac:spMkLst>
        </pc:spChg>
        <pc:spChg chg="add mod">
          <ac:chgData name="Nguyễn Lê Nhật Trường" userId="b57f1783-2bfa-4d82-93dd-4655ec71c09f" providerId="ADAL" clId="{41025DA7-181F-491C-9FBD-FBB8E4B572F0}" dt="2023-06-25T18:07:06.745" v="4255"/>
          <ac:spMkLst>
            <pc:docMk/>
            <pc:sldMk cId="3470457490" sldId="346"/>
            <ac:spMk id="8" creationId="{25739848-852F-CFC8-3C5C-3B2EBB6484D5}"/>
          </ac:spMkLst>
        </pc:spChg>
        <pc:spChg chg="add mod">
          <ac:chgData name="Nguyễn Lê Nhật Trường" userId="b57f1783-2bfa-4d82-93dd-4655ec71c09f" providerId="ADAL" clId="{41025DA7-181F-491C-9FBD-FBB8E4B572F0}" dt="2023-06-25T18:08:13.757" v="4262" actId="14100"/>
          <ac:spMkLst>
            <pc:docMk/>
            <pc:sldMk cId="3470457490" sldId="346"/>
            <ac:spMk id="9" creationId="{7F1F7ED0-2B8B-4420-FC30-2CBCFBFABA64}"/>
          </ac:spMkLst>
        </pc:spChg>
        <pc:spChg chg="add mod">
          <ac:chgData name="Nguyễn Lê Nhật Trường" userId="b57f1783-2bfa-4d82-93dd-4655ec71c09f" providerId="ADAL" clId="{41025DA7-181F-491C-9FBD-FBB8E4B572F0}" dt="2023-06-25T18:08:36.071" v="4267" actId="14100"/>
          <ac:spMkLst>
            <pc:docMk/>
            <pc:sldMk cId="3470457490" sldId="346"/>
            <ac:spMk id="10" creationId="{8E545978-991B-D406-D7B8-C70A74B43F1E}"/>
          </ac:spMkLst>
        </pc:spChg>
        <pc:spChg chg="add mod">
          <ac:chgData name="Nguyễn Lê Nhật Trường" userId="b57f1783-2bfa-4d82-93dd-4655ec71c09f" providerId="ADAL" clId="{41025DA7-181F-491C-9FBD-FBB8E4B572F0}" dt="2023-06-25T18:08:48.419" v="4270" actId="14100"/>
          <ac:spMkLst>
            <pc:docMk/>
            <pc:sldMk cId="3470457490" sldId="346"/>
            <ac:spMk id="11" creationId="{26ED4E98-F208-B595-E80E-0B646BC96CEB}"/>
          </ac:spMkLst>
        </pc:spChg>
        <pc:spChg chg="add mod">
          <ac:chgData name="Nguyễn Lê Nhật Trường" userId="b57f1783-2bfa-4d82-93dd-4655ec71c09f" providerId="ADAL" clId="{41025DA7-181F-491C-9FBD-FBB8E4B572F0}" dt="2023-06-25T18:09:03.537" v="4281" actId="1035"/>
          <ac:spMkLst>
            <pc:docMk/>
            <pc:sldMk cId="3470457490" sldId="346"/>
            <ac:spMk id="12" creationId="{6C4EF227-F0DF-D361-6FF6-EE7E8CFAB32D}"/>
          </ac:spMkLst>
        </pc:spChg>
      </pc:sldChg>
      <pc:sldChg chg="addSp delSp modSp add mod delAnim modAnim">
        <pc:chgData name="Nguyễn Lê Nhật Trường" userId="b57f1783-2bfa-4d82-93dd-4655ec71c09f" providerId="ADAL" clId="{41025DA7-181F-491C-9FBD-FBB8E4B572F0}" dt="2023-06-25T18:27:38.786" v="4369" actId="14100"/>
        <pc:sldMkLst>
          <pc:docMk/>
          <pc:sldMk cId="3805215610" sldId="347"/>
        </pc:sldMkLst>
        <pc:spChg chg="del">
          <ac:chgData name="Nguyễn Lê Nhật Trường" userId="b57f1783-2bfa-4d82-93dd-4655ec71c09f" providerId="ADAL" clId="{41025DA7-181F-491C-9FBD-FBB8E4B572F0}" dt="2023-06-25T18:12:08.190" v="4300" actId="478"/>
          <ac:spMkLst>
            <pc:docMk/>
            <pc:sldMk cId="3805215610" sldId="347"/>
            <ac:spMk id="2" creationId="{1C427350-C85D-386B-AA40-637C11C03D7B}"/>
          </ac:spMkLst>
        </pc:spChg>
        <pc:spChg chg="del">
          <ac:chgData name="Nguyễn Lê Nhật Trường" userId="b57f1783-2bfa-4d82-93dd-4655ec71c09f" providerId="ADAL" clId="{41025DA7-181F-491C-9FBD-FBB8E4B572F0}" dt="2023-06-25T18:12:08.190" v="4300" actId="478"/>
          <ac:spMkLst>
            <pc:docMk/>
            <pc:sldMk cId="3805215610" sldId="347"/>
            <ac:spMk id="4" creationId="{108B2953-628F-EA26-FAB1-3B56B228AB5E}"/>
          </ac:spMkLst>
        </pc:spChg>
        <pc:spChg chg="mod">
          <ac:chgData name="Nguyễn Lê Nhật Trường" userId="b57f1783-2bfa-4d82-93dd-4655ec71c09f" providerId="ADAL" clId="{41025DA7-181F-491C-9FBD-FBB8E4B572F0}" dt="2023-06-25T18:12:05.022" v="4299" actId="1076"/>
          <ac:spMkLst>
            <pc:docMk/>
            <pc:sldMk cId="3805215610" sldId="347"/>
            <ac:spMk id="5" creationId="{F0FF0D5D-E4FC-A978-4EC2-4FD003158C7C}"/>
          </ac:spMkLst>
        </pc:spChg>
        <pc:spChg chg="del">
          <ac:chgData name="Nguyễn Lê Nhật Trường" userId="b57f1783-2bfa-4d82-93dd-4655ec71c09f" providerId="ADAL" clId="{41025DA7-181F-491C-9FBD-FBB8E4B572F0}" dt="2023-06-25T18:12:08.190" v="4300" actId="478"/>
          <ac:spMkLst>
            <pc:docMk/>
            <pc:sldMk cId="3805215610" sldId="347"/>
            <ac:spMk id="7" creationId="{D3CFA1EB-ADD5-9D69-6F41-28AF22689F33}"/>
          </ac:spMkLst>
        </pc:spChg>
        <pc:spChg chg="del">
          <ac:chgData name="Nguyễn Lê Nhật Trường" userId="b57f1783-2bfa-4d82-93dd-4655ec71c09f" providerId="ADAL" clId="{41025DA7-181F-491C-9FBD-FBB8E4B572F0}" dt="2023-06-25T18:12:08.190" v="4300" actId="478"/>
          <ac:spMkLst>
            <pc:docMk/>
            <pc:sldMk cId="3805215610" sldId="347"/>
            <ac:spMk id="8" creationId="{25739848-852F-CFC8-3C5C-3B2EBB6484D5}"/>
          </ac:spMkLst>
        </pc:spChg>
        <pc:spChg chg="del">
          <ac:chgData name="Nguyễn Lê Nhật Trường" userId="b57f1783-2bfa-4d82-93dd-4655ec71c09f" providerId="ADAL" clId="{41025DA7-181F-491C-9FBD-FBB8E4B572F0}" dt="2023-06-25T18:12:08.190" v="4300" actId="478"/>
          <ac:spMkLst>
            <pc:docMk/>
            <pc:sldMk cId="3805215610" sldId="347"/>
            <ac:spMk id="9" creationId="{7F1F7ED0-2B8B-4420-FC30-2CBCFBFABA64}"/>
          </ac:spMkLst>
        </pc:spChg>
        <pc:spChg chg="del">
          <ac:chgData name="Nguyễn Lê Nhật Trường" userId="b57f1783-2bfa-4d82-93dd-4655ec71c09f" providerId="ADAL" clId="{41025DA7-181F-491C-9FBD-FBB8E4B572F0}" dt="2023-06-25T18:12:08.190" v="4300" actId="478"/>
          <ac:spMkLst>
            <pc:docMk/>
            <pc:sldMk cId="3805215610" sldId="347"/>
            <ac:spMk id="10" creationId="{8E545978-991B-D406-D7B8-C70A74B43F1E}"/>
          </ac:spMkLst>
        </pc:spChg>
        <pc:spChg chg="del">
          <ac:chgData name="Nguyễn Lê Nhật Trường" userId="b57f1783-2bfa-4d82-93dd-4655ec71c09f" providerId="ADAL" clId="{41025DA7-181F-491C-9FBD-FBB8E4B572F0}" dt="2023-06-25T18:12:08.190" v="4300" actId="478"/>
          <ac:spMkLst>
            <pc:docMk/>
            <pc:sldMk cId="3805215610" sldId="347"/>
            <ac:spMk id="11" creationId="{26ED4E98-F208-B595-E80E-0B646BC96CEB}"/>
          </ac:spMkLst>
        </pc:spChg>
        <pc:spChg chg="del">
          <ac:chgData name="Nguyễn Lê Nhật Trường" userId="b57f1783-2bfa-4d82-93dd-4655ec71c09f" providerId="ADAL" clId="{41025DA7-181F-491C-9FBD-FBB8E4B572F0}" dt="2023-06-25T18:12:08.190" v="4300" actId="478"/>
          <ac:spMkLst>
            <pc:docMk/>
            <pc:sldMk cId="3805215610" sldId="347"/>
            <ac:spMk id="12" creationId="{6C4EF227-F0DF-D361-6FF6-EE7E8CFAB32D}"/>
          </ac:spMkLst>
        </pc:spChg>
        <pc:spChg chg="add mod">
          <ac:chgData name="Nguyễn Lê Nhật Trường" userId="b57f1783-2bfa-4d82-93dd-4655ec71c09f" providerId="ADAL" clId="{41025DA7-181F-491C-9FBD-FBB8E4B572F0}" dt="2023-06-25T18:27:38.786" v="4369" actId="14100"/>
          <ac:spMkLst>
            <pc:docMk/>
            <pc:sldMk cId="3805215610" sldId="347"/>
            <ac:spMk id="19" creationId="{752504CB-B92D-7D8A-FDEE-6A75EF8182E6}"/>
          </ac:spMkLst>
        </pc:spChg>
        <pc:picChg chg="del">
          <ac:chgData name="Nguyễn Lê Nhật Trường" userId="b57f1783-2bfa-4d82-93dd-4655ec71c09f" providerId="ADAL" clId="{41025DA7-181F-491C-9FBD-FBB8E4B572F0}" dt="2023-06-25T18:12:01.846" v="4297" actId="478"/>
          <ac:picMkLst>
            <pc:docMk/>
            <pc:sldMk cId="3805215610" sldId="347"/>
            <ac:picMk id="3" creationId="{B65D5D35-342A-2E01-F2FE-FEF5675D47E1}"/>
          </ac:picMkLst>
        </pc:picChg>
        <pc:picChg chg="del">
          <ac:chgData name="Nguyễn Lê Nhật Trường" userId="b57f1783-2bfa-4d82-93dd-4655ec71c09f" providerId="ADAL" clId="{41025DA7-181F-491C-9FBD-FBB8E4B572F0}" dt="2023-06-25T18:11:49.453" v="4290" actId="478"/>
          <ac:picMkLst>
            <pc:docMk/>
            <pc:sldMk cId="3805215610" sldId="347"/>
            <ac:picMk id="6" creationId="{0E463DAD-3091-A1BF-0019-DE5D70AE2191}"/>
          </ac:picMkLst>
        </pc:picChg>
        <pc:picChg chg="add mod">
          <ac:chgData name="Nguyễn Lê Nhật Trường" userId="b57f1783-2bfa-4d82-93dd-4655ec71c09f" providerId="ADAL" clId="{41025DA7-181F-491C-9FBD-FBB8E4B572F0}" dt="2023-06-25T18:12:00.189" v="4296" actId="14100"/>
          <ac:picMkLst>
            <pc:docMk/>
            <pc:sldMk cId="3805215610" sldId="347"/>
            <ac:picMk id="14" creationId="{A97966D7-1C03-5411-F422-031BDF3E31D8}"/>
          </ac:picMkLst>
        </pc:picChg>
        <pc:picChg chg="add mod">
          <ac:chgData name="Nguyễn Lê Nhật Trường" userId="b57f1783-2bfa-4d82-93dd-4655ec71c09f" providerId="ADAL" clId="{41025DA7-181F-491C-9FBD-FBB8E4B572F0}" dt="2023-06-25T18:22:57.684" v="4309" actId="1076"/>
          <ac:picMkLst>
            <pc:docMk/>
            <pc:sldMk cId="3805215610" sldId="347"/>
            <ac:picMk id="16" creationId="{4E406E7E-82C1-3C35-E4DB-4D140C82F585}"/>
          </ac:picMkLst>
        </pc:picChg>
        <pc:picChg chg="add mod">
          <ac:chgData name="Nguyễn Lê Nhật Trường" userId="b57f1783-2bfa-4d82-93dd-4655ec71c09f" providerId="ADAL" clId="{41025DA7-181F-491C-9FBD-FBB8E4B572F0}" dt="2023-06-25T18:22:52.671" v="4308" actId="1076"/>
          <ac:picMkLst>
            <pc:docMk/>
            <pc:sldMk cId="3805215610" sldId="347"/>
            <ac:picMk id="18" creationId="{6F0722AC-55BB-8B08-01C1-F472490BD61D}"/>
          </ac:picMkLst>
        </pc:picChg>
      </pc:sldChg>
      <pc:sldChg chg="addSp delSp modSp add mod ord modAnim">
        <pc:chgData name="Nguyễn Lê Nhật Trường" userId="b57f1783-2bfa-4d82-93dd-4655ec71c09f" providerId="ADAL" clId="{41025DA7-181F-491C-9FBD-FBB8E4B572F0}" dt="2023-06-25T18:27:19.688" v="4364"/>
        <pc:sldMkLst>
          <pc:docMk/>
          <pc:sldMk cId="104835604" sldId="348"/>
        </pc:sldMkLst>
        <pc:spChg chg="add mod">
          <ac:chgData name="Nguyễn Lê Nhật Trường" userId="b57f1783-2bfa-4d82-93dd-4655ec71c09f" providerId="ADAL" clId="{41025DA7-181F-491C-9FBD-FBB8E4B572F0}" dt="2023-06-25T18:26:58.281" v="4358" actId="14100"/>
          <ac:spMkLst>
            <pc:docMk/>
            <pc:sldMk cId="104835604" sldId="348"/>
            <ac:spMk id="11" creationId="{9607D279-0EC8-FFBA-56B9-829A5F07D5D3}"/>
          </ac:spMkLst>
        </pc:spChg>
        <pc:spChg chg="add mod">
          <ac:chgData name="Nguyễn Lê Nhật Trường" userId="b57f1783-2bfa-4d82-93dd-4655ec71c09f" providerId="ADAL" clId="{41025DA7-181F-491C-9FBD-FBB8E4B572F0}" dt="2023-06-25T18:27:04.281" v="4362" actId="1036"/>
          <ac:spMkLst>
            <pc:docMk/>
            <pc:sldMk cId="104835604" sldId="348"/>
            <ac:spMk id="12" creationId="{8A0D9654-10F6-B8AC-8187-2EB6BB99FF96}"/>
          </ac:spMkLst>
        </pc:spChg>
        <pc:grpChg chg="add del mod">
          <ac:chgData name="Nguyễn Lê Nhật Trường" userId="b57f1783-2bfa-4d82-93dd-4655ec71c09f" providerId="ADAL" clId="{41025DA7-181F-491C-9FBD-FBB8E4B572F0}" dt="2023-06-25T18:25:18.645" v="4341" actId="165"/>
          <ac:grpSpMkLst>
            <pc:docMk/>
            <pc:sldMk cId="104835604" sldId="348"/>
            <ac:grpSpMk id="7" creationId="{2BD7C0D3-3E0B-F5EE-73AD-710AC91990F2}"/>
          </ac:grpSpMkLst>
        </pc:grpChg>
        <pc:picChg chg="add mod topLvl">
          <ac:chgData name="Nguyễn Lê Nhật Trường" userId="b57f1783-2bfa-4d82-93dd-4655ec71c09f" providerId="ADAL" clId="{41025DA7-181F-491C-9FBD-FBB8E4B572F0}" dt="2023-06-25T18:25:56" v="4352" actId="1035"/>
          <ac:picMkLst>
            <pc:docMk/>
            <pc:sldMk cId="104835604" sldId="348"/>
            <ac:picMk id="3" creationId="{5FA749F6-A69F-5903-34F7-4384956221B5}"/>
          </ac:picMkLst>
        </pc:picChg>
        <pc:picChg chg="add mod topLvl modCrop">
          <ac:chgData name="Nguyễn Lê Nhật Trường" userId="b57f1783-2bfa-4d82-93dd-4655ec71c09f" providerId="ADAL" clId="{41025DA7-181F-491C-9FBD-FBB8E4B572F0}" dt="2023-06-25T18:25:45.020" v="4345" actId="1076"/>
          <ac:picMkLst>
            <pc:docMk/>
            <pc:sldMk cId="104835604" sldId="348"/>
            <ac:picMk id="6" creationId="{39785341-1CA8-15DB-E0DF-31A4C06A9BCC}"/>
          </ac:picMkLst>
        </pc:picChg>
        <pc:picChg chg="add mod">
          <ac:chgData name="Nguyễn Lê Nhật Trường" userId="b57f1783-2bfa-4d82-93dd-4655ec71c09f" providerId="ADAL" clId="{41025DA7-181F-491C-9FBD-FBB8E4B572F0}" dt="2023-06-25T18:25:13.669" v="4339"/>
          <ac:picMkLst>
            <pc:docMk/>
            <pc:sldMk cId="104835604" sldId="348"/>
            <ac:picMk id="8" creationId="{2B8C886B-C219-AC41-7EA0-E8D9EB20D954}"/>
          </ac:picMkLst>
        </pc:picChg>
        <pc:picChg chg="add mod">
          <ac:chgData name="Nguyễn Lê Nhật Trường" userId="b57f1783-2bfa-4d82-93dd-4655ec71c09f" providerId="ADAL" clId="{41025DA7-181F-491C-9FBD-FBB8E4B572F0}" dt="2023-06-25T18:25:13.669" v="4339"/>
          <ac:picMkLst>
            <pc:docMk/>
            <pc:sldMk cId="104835604" sldId="348"/>
            <ac:picMk id="9" creationId="{A1348434-93FA-77C8-D215-00029CE51D79}"/>
          </ac:picMkLst>
        </pc:picChg>
        <pc:picChg chg="add mod modCrop">
          <ac:chgData name="Nguyễn Lê Nhật Trường" userId="b57f1783-2bfa-4d82-93dd-4655ec71c09f" providerId="ADAL" clId="{41025DA7-181F-491C-9FBD-FBB8E4B572F0}" dt="2023-06-25T18:25:29.487" v="4343" actId="732"/>
          <ac:picMkLst>
            <pc:docMk/>
            <pc:sldMk cId="104835604" sldId="348"/>
            <ac:picMk id="10" creationId="{8DA6C418-D7EB-C04D-99F2-123CAE989563}"/>
          </ac:picMkLst>
        </pc:picChg>
        <pc:picChg chg="del">
          <ac:chgData name="Nguyễn Lê Nhật Trường" userId="b57f1783-2bfa-4d82-93dd-4655ec71c09f" providerId="ADAL" clId="{41025DA7-181F-491C-9FBD-FBB8E4B572F0}" dt="2023-06-25T18:24:01.634" v="4312" actId="478"/>
          <ac:picMkLst>
            <pc:docMk/>
            <pc:sldMk cId="104835604" sldId="348"/>
            <ac:picMk id="16" creationId="{4E406E7E-82C1-3C35-E4DB-4D140C82F585}"/>
          </ac:picMkLst>
        </pc:picChg>
        <pc:picChg chg="del">
          <ac:chgData name="Nguyễn Lê Nhật Trường" userId="b57f1783-2bfa-4d82-93dd-4655ec71c09f" providerId="ADAL" clId="{41025DA7-181F-491C-9FBD-FBB8E4B572F0}" dt="2023-06-25T18:24:00.036" v="4311" actId="478"/>
          <ac:picMkLst>
            <pc:docMk/>
            <pc:sldMk cId="104835604" sldId="348"/>
            <ac:picMk id="18" creationId="{6F0722AC-55BB-8B08-01C1-F472490BD61D}"/>
          </ac:picMkLst>
        </pc:picChg>
      </pc:sldChg>
      <pc:sldChg chg="addSp delSp modSp add mod modAnim">
        <pc:chgData name="Nguyễn Lê Nhật Trường" userId="b57f1783-2bfa-4d82-93dd-4655ec71c09f" providerId="ADAL" clId="{41025DA7-181F-491C-9FBD-FBB8E4B572F0}" dt="2023-06-25T18:38:43.389" v="4405" actId="14100"/>
        <pc:sldMkLst>
          <pc:docMk/>
          <pc:sldMk cId="2090236150" sldId="349"/>
        </pc:sldMkLst>
        <pc:spChg chg="add mod">
          <ac:chgData name="Nguyễn Lê Nhật Trường" userId="b57f1783-2bfa-4d82-93dd-4655ec71c09f" providerId="ADAL" clId="{41025DA7-181F-491C-9FBD-FBB8E4B572F0}" dt="2023-06-25T18:38:33.758" v="4402" actId="14100"/>
          <ac:spMkLst>
            <pc:docMk/>
            <pc:sldMk cId="2090236150" sldId="349"/>
            <ac:spMk id="13" creationId="{EEAD7B14-A457-2895-19C7-C4209F9F18EC}"/>
          </ac:spMkLst>
        </pc:spChg>
        <pc:spChg chg="add mod">
          <ac:chgData name="Nguyễn Lê Nhật Trường" userId="b57f1783-2bfa-4d82-93dd-4655ec71c09f" providerId="ADAL" clId="{41025DA7-181F-491C-9FBD-FBB8E4B572F0}" dt="2023-06-25T18:38:43.389" v="4405" actId="14100"/>
          <ac:spMkLst>
            <pc:docMk/>
            <pc:sldMk cId="2090236150" sldId="349"/>
            <ac:spMk id="15" creationId="{03DD68EC-863F-AE3D-7D52-60090725FF1A}"/>
          </ac:spMkLst>
        </pc:spChg>
        <pc:spChg chg="del">
          <ac:chgData name="Nguyễn Lê Nhật Trường" userId="b57f1783-2bfa-4d82-93dd-4655ec71c09f" providerId="ADAL" clId="{41025DA7-181F-491C-9FBD-FBB8E4B572F0}" dt="2023-06-25T18:28:21.442" v="4371" actId="478"/>
          <ac:spMkLst>
            <pc:docMk/>
            <pc:sldMk cId="2090236150" sldId="349"/>
            <ac:spMk id="19" creationId="{752504CB-B92D-7D8A-FDEE-6A75EF8182E6}"/>
          </ac:spMkLst>
        </pc:spChg>
        <pc:picChg chg="add del mod">
          <ac:chgData name="Nguyễn Lê Nhật Trường" userId="b57f1783-2bfa-4d82-93dd-4655ec71c09f" providerId="ADAL" clId="{41025DA7-181F-491C-9FBD-FBB8E4B572F0}" dt="2023-06-25T18:29:16.064" v="4385" actId="478"/>
          <ac:picMkLst>
            <pc:docMk/>
            <pc:sldMk cId="2090236150" sldId="349"/>
            <ac:picMk id="3" creationId="{E74484A2-1CC4-7E87-4A00-5D7E94F47DAE}"/>
          </ac:picMkLst>
        </pc:picChg>
        <pc:picChg chg="add mod">
          <ac:chgData name="Nguyễn Lê Nhật Trường" userId="b57f1783-2bfa-4d82-93dd-4655ec71c09f" providerId="ADAL" clId="{41025DA7-181F-491C-9FBD-FBB8E4B572F0}" dt="2023-06-25T18:29:00.276" v="4381" actId="1076"/>
          <ac:picMkLst>
            <pc:docMk/>
            <pc:sldMk cId="2090236150" sldId="349"/>
            <ac:picMk id="6" creationId="{9A437C78-2829-0D40-D24B-5C2174114035}"/>
          </ac:picMkLst>
        </pc:picChg>
        <pc:picChg chg="add del mod">
          <ac:chgData name="Nguyễn Lê Nhật Trường" userId="b57f1783-2bfa-4d82-93dd-4655ec71c09f" providerId="ADAL" clId="{41025DA7-181F-491C-9FBD-FBB8E4B572F0}" dt="2023-06-25T18:37:16.275" v="4388" actId="478"/>
          <ac:picMkLst>
            <pc:docMk/>
            <pc:sldMk cId="2090236150" sldId="349"/>
            <ac:picMk id="8" creationId="{1494CFF0-747D-493B-63AB-332447D01199}"/>
          </ac:picMkLst>
        </pc:picChg>
        <pc:picChg chg="add mod">
          <ac:chgData name="Nguyễn Lê Nhật Trường" userId="b57f1783-2bfa-4d82-93dd-4655ec71c09f" providerId="ADAL" clId="{41025DA7-181F-491C-9FBD-FBB8E4B572F0}" dt="2023-06-25T18:38:13.945" v="4399" actId="1076"/>
          <ac:picMkLst>
            <pc:docMk/>
            <pc:sldMk cId="2090236150" sldId="349"/>
            <ac:picMk id="10" creationId="{550E5B2D-964F-7D40-43CE-7C12835B8403}"/>
          </ac:picMkLst>
        </pc:picChg>
        <pc:picChg chg="add del mod">
          <ac:chgData name="Nguyễn Lê Nhật Trường" userId="b57f1783-2bfa-4d82-93dd-4655ec71c09f" providerId="ADAL" clId="{41025DA7-181F-491C-9FBD-FBB8E4B572F0}" dt="2023-06-25T18:37:58.375" v="4393" actId="478"/>
          <ac:picMkLst>
            <pc:docMk/>
            <pc:sldMk cId="2090236150" sldId="349"/>
            <ac:picMk id="12" creationId="{A1AD98E7-143A-DBAC-6642-E37E3E527104}"/>
          </ac:picMkLst>
        </pc:picChg>
        <pc:picChg chg="del">
          <ac:chgData name="Nguyễn Lê Nhật Trường" userId="b57f1783-2bfa-4d82-93dd-4655ec71c09f" providerId="ADAL" clId="{41025DA7-181F-491C-9FBD-FBB8E4B572F0}" dt="2023-06-25T18:28:25.721" v="4376" actId="478"/>
          <ac:picMkLst>
            <pc:docMk/>
            <pc:sldMk cId="2090236150" sldId="349"/>
            <ac:picMk id="14" creationId="{A97966D7-1C03-5411-F422-031BDF3E31D8}"/>
          </ac:picMkLst>
        </pc:picChg>
        <pc:picChg chg="del">
          <ac:chgData name="Nguyễn Lê Nhật Trường" userId="b57f1783-2bfa-4d82-93dd-4655ec71c09f" providerId="ADAL" clId="{41025DA7-181F-491C-9FBD-FBB8E4B572F0}" dt="2023-06-25T18:28:21.442" v="4371" actId="478"/>
          <ac:picMkLst>
            <pc:docMk/>
            <pc:sldMk cId="2090236150" sldId="349"/>
            <ac:picMk id="16" creationId="{4E406E7E-82C1-3C35-E4DB-4D140C82F585}"/>
          </ac:picMkLst>
        </pc:picChg>
        <pc:picChg chg="del">
          <ac:chgData name="Nguyễn Lê Nhật Trường" userId="b57f1783-2bfa-4d82-93dd-4655ec71c09f" providerId="ADAL" clId="{41025DA7-181F-491C-9FBD-FBB8E4B572F0}" dt="2023-06-25T18:28:21.442" v="4371" actId="478"/>
          <ac:picMkLst>
            <pc:docMk/>
            <pc:sldMk cId="2090236150" sldId="349"/>
            <ac:picMk id="18" creationId="{6F0722AC-55BB-8B08-01C1-F472490BD61D}"/>
          </ac:picMkLst>
        </pc:picChg>
      </pc:sldChg>
      <pc:sldChg chg="addSp delSp modSp add mod modAnim">
        <pc:chgData name="Nguyễn Lê Nhật Trường" userId="b57f1783-2bfa-4d82-93dd-4655ec71c09f" providerId="ADAL" clId="{41025DA7-181F-491C-9FBD-FBB8E4B572F0}" dt="2023-06-25T18:42:17.144" v="4413" actId="368"/>
        <pc:sldMkLst>
          <pc:docMk/>
          <pc:sldMk cId="3331016776" sldId="350"/>
        </pc:sldMkLst>
        <pc:spChg chg="add mod">
          <ac:chgData name="Nguyễn Lê Nhật Trường" userId="b57f1783-2bfa-4d82-93dd-4655ec71c09f" providerId="ADAL" clId="{41025DA7-181F-491C-9FBD-FBB8E4B572F0}" dt="2023-06-25T18:39:04.236" v="4408" actId="14100"/>
          <ac:spMkLst>
            <pc:docMk/>
            <pc:sldMk cId="3331016776" sldId="350"/>
            <ac:spMk id="7" creationId="{BDB36AAC-33DB-9F47-78BC-54EA6A9FC944}"/>
          </ac:spMkLst>
        </pc:spChg>
        <pc:spChg chg="add mod">
          <ac:chgData name="Nguyễn Lê Nhật Trường" userId="b57f1783-2bfa-4d82-93dd-4655ec71c09f" providerId="ADAL" clId="{41025DA7-181F-491C-9FBD-FBB8E4B572F0}" dt="2023-06-25T18:42:17.144" v="4413" actId="368"/>
          <ac:spMkLst>
            <pc:docMk/>
            <pc:sldMk cId="3331016776" sldId="350"/>
            <ac:spMk id="8" creationId="{1DBD53C3-BE1C-464E-B424-A9B107BC8516}"/>
          </ac:spMkLst>
        </pc:spChg>
        <pc:picChg chg="del">
          <ac:chgData name="Nguyễn Lê Nhật Trường" userId="b57f1783-2bfa-4d82-93dd-4655ec71c09f" providerId="ADAL" clId="{41025DA7-181F-491C-9FBD-FBB8E4B572F0}" dt="2023-06-25T18:38:01.165" v="4394" actId="478"/>
          <ac:picMkLst>
            <pc:docMk/>
            <pc:sldMk cId="3331016776" sldId="350"/>
            <ac:picMk id="3" creationId="{E74484A2-1CC4-7E87-4A00-5D7E94F47DAE}"/>
          </ac:picMkLst>
        </pc:picChg>
        <pc:picChg chg="add mod">
          <ac:chgData name="Nguyễn Lê Nhật Trường" userId="b57f1783-2bfa-4d82-93dd-4655ec71c09f" providerId="ADAL" clId="{41025DA7-181F-491C-9FBD-FBB8E4B572F0}" dt="2023-06-25T18:38:09.005" v="4398" actId="1076"/>
          <ac:picMkLst>
            <pc:docMk/>
            <pc:sldMk cId="3331016776" sldId="350"/>
            <ac:picMk id="4" creationId="{17FC3DE0-617B-BB6F-AEFB-CCBFAAB2C873}"/>
          </ac:picMkLst>
        </pc:picChg>
      </pc:sldChg>
      <pc:sldChg chg="delSp modSp add mod modAnim">
        <pc:chgData name="Nguyễn Lê Nhật Trường" userId="b57f1783-2bfa-4d82-93dd-4655ec71c09f" providerId="ADAL" clId="{41025DA7-181F-491C-9FBD-FBB8E4B572F0}" dt="2023-06-25T18:58:16.695" v="4802"/>
        <pc:sldMkLst>
          <pc:docMk/>
          <pc:sldMk cId="2082650504" sldId="351"/>
        </pc:sldMkLst>
        <pc:spChg chg="mod">
          <ac:chgData name="Nguyễn Lê Nhật Trường" userId="b57f1783-2bfa-4d82-93dd-4655ec71c09f" providerId="ADAL" clId="{41025DA7-181F-491C-9FBD-FBB8E4B572F0}" dt="2023-06-25T18:57:53.002" v="4799" actId="2710"/>
          <ac:spMkLst>
            <pc:docMk/>
            <pc:sldMk cId="2082650504" sldId="351"/>
            <ac:spMk id="2" creationId="{61802421-BBAF-FA0A-EA37-F2F4B389E3EE}"/>
          </ac:spMkLst>
        </pc:spChg>
        <pc:spChg chg="mod">
          <ac:chgData name="Nguyễn Lê Nhật Trường" userId="b57f1783-2bfa-4d82-93dd-4655ec71c09f" providerId="ADAL" clId="{41025DA7-181F-491C-9FBD-FBB8E4B572F0}" dt="2023-06-25T18:43:10.747" v="4429" actId="20577"/>
          <ac:spMkLst>
            <pc:docMk/>
            <pc:sldMk cId="2082650504" sldId="351"/>
            <ac:spMk id="3" creationId="{93408BE5-8F7E-55E3-7EE2-E11316895C59}"/>
          </ac:spMkLst>
        </pc:spChg>
        <pc:picChg chg="del">
          <ac:chgData name="Nguyễn Lê Nhật Trường" userId="b57f1783-2bfa-4d82-93dd-4655ec71c09f" providerId="ADAL" clId="{41025DA7-181F-491C-9FBD-FBB8E4B572F0}" dt="2023-06-25T18:43:14.313" v="4430" actId="478"/>
          <ac:picMkLst>
            <pc:docMk/>
            <pc:sldMk cId="2082650504" sldId="351"/>
            <ac:picMk id="6" creationId="{D3CE16FC-6E8C-2C5B-92D2-B3ADF4758AE6}"/>
          </ac:picMkLst>
        </pc:picChg>
        <pc:picChg chg="del">
          <ac:chgData name="Nguyễn Lê Nhật Trường" userId="b57f1783-2bfa-4d82-93dd-4655ec71c09f" providerId="ADAL" clId="{41025DA7-181F-491C-9FBD-FBB8E4B572F0}" dt="2023-06-25T18:43:15.820" v="4431" actId="478"/>
          <ac:picMkLst>
            <pc:docMk/>
            <pc:sldMk cId="2082650504" sldId="351"/>
            <ac:picMk id="8" creationId="{558DEBCB-0857-C01B-E07B-1F14AE7F2655}"/>
          </ac:picMkLst>
        </pc:picChg>
      </pc:sldChg>
      <pc:sldChg chg="addSp delSp modSp add mod">
        <pc:chgData name="Nguyễn Lê Nhật Trường" userId="b57f1783-2bfa-4d82-93dd-4655ec71c09f" providerId="ADAL" clId="{41025DA7-181F-491C-9FBD-FBB8E4B572F0}" dt="2023-06-25T19:02:49.317" v="4836" actId="1076"/>
        <pc:sldMkLst>
          <pc:docMk/>
          <pc:sldMk cId="3497685891" sldId="352"/>
        </pc:sldMkLst>
        <pc:spChg chg="del">
          <ac:chgData name="Nguyễn Lê Nhật Trường" userId="b57f1783-2bfa-4d82-93dd-4655ec71c09f" providerId="ADAL" clId="{41025DA7-181F-491C-9FBD-FBB8E4B572F0}" dt="2023-06-25T19:02:37.926" v="4828" actId="478"/>
          <ac:spMkLst>
            <pc:docMk/>
            <pc:sldMk cId="3497685891" sldId="352"/>
            <ac:spMk id="2" creationId="{00340C1C-C5A5-C59C-4CF3-A8A32C4DADB5}"/>
          </ac:spMkLst>
        </pc:spChg>
        <pc:spChg chg="del">
          <ac:chgData name="Nguyễn Lê Nhật Trường" userId="b57f1783-2bfa-4d82-93dd-4655ec71c09f" providerId="ADAL" clId="{41025DA7-181F-491C-9FBD-FBB8E4B572F0}" dt="2023-06-25T19:02:37.926" v="4828" actId="478"/>
          <ac:spMkLst>
            <pc:docMk/>
            <pc:sldMk cId="3497685891" sldId="352"/>
            <ac:spMk id="6" creationId="{37A0B76A-B6F6-5B01-9D56-48CC71939000}"/>
          </ac:spMkLst>
        </pc:spChg>
        <pc:spChg chg="del">
          <ac:chgData name="Nguyễn Lê Nhật Trường" userId="b57f1783-2bfa-4d82-93dd-4655ec71c09f" providerId="ADAL" clId="{41025DA7-181F-491C-9FBD-FBB8E4B572F0}" dt="2023-06-25T19:02:37.926" v="4828" actId="478"/>
          <ac:spMkLst>
            <pc:docMk/>
            <pc:sldMk cId="3497685891" sldId="352"/>
            <ac:spMk id="51" creationId="{E6D08930-96E7-4CE2-96AD-7011200C2A51}"/>
          </ac:spMkLst>
        </pc:spChg>
        <pc:picChg chg="add mod">
          <ac:chgData name="Nguyễn Lê Nhật Trường" userId="b57f1783-2bfa-4d82-93dd-4655ec71c09f" providerId="ADAL" clId="{41025DA7-181F-491C-9FBD-FBB8E4B572F0}" dt="2023-06-25T19:02:49.317" v="4836" actId="1076"/>
          <ac:picMkLst>
            <pc:docMk/>
            <pc:sldMk cId="3497685891" sldId="352"/>
            <ac:picMk id="4" creationId="{0BA6B2EA-8FD3-3726-A47B-CEAE4F8A4C09}"/>
          </ac:picMkLst>
        </pc:picChg>
        <pc:picChg chg="del">
          <ac:chgData name="Nguyễn Lê Nhật Trường" userId="b57f1783-2bfa-4d82-93dd-4655ec71c09f" providerId="ADAL" clId="{41025DA7-181F-491C-9FBD-FBB8E4B572F0}" dt="2023-06-25T19:02:39.304" v="4829" actId="478"/>
          <ac:picMkLst>
            <pc:docMk/>
            <pc:sldMk cId="3497685891" sldId="352"/>
            <ac:picMk id="13" creationId="{2F5D6EA6-938C-7595-0EB7-897ADC8B49F4}"/>
          </ac:picMkLst>
        </pc:picChg>
      </pc:sldChg>
      <pc:sldChg chg="addSp delSp modSp add mod">
        <pc:chgData name="Nguyễn Lê Nhật Trường" userId="b57f1783-2bfa-4d82-93dd-4655ec71c09f" providerId="ADAL" clId="{41025DA7-181F-491C-9FBD-FBB8E4B572F0}" dt="2023-06-25T19:04:27.530" v="4845" actId="27614"/>
        <pc:sldMkLst>
          <pc:docMk/>
          <pc:sldMk cId="2729139457" sldId="353"/>
        </pc:sldMkLst>
        <pc:picChg chg="add mod">
          <ac:chgData name="Nguyễn Lê Nhật Trường" userId="b57f1783-2bfa-4d82-93dd-4655ec71c09f" providerId="ADAL" clId="{41025DA7-181F-491C-9FBD-FBB8E4B572F0}" dt="2023-06-25T19:04:11.819" v="4842" actId="962"/>
          <ac:picMkLst>
            <pc:docMk/>
            <pc:sldMk cId="2729139457" sldId="353"/>
            <ac:picMk id="3" creationId="{6D684304-83A3-B8ED-D3F2-348871E8BF2F}"/>
          </ac:picMkLst>
        </pc:picChg>
        <pc:picChg chg="del">
          <ac:chgData name="Nguyễn Lê Nhật Trường" userId="b57f1783-2bfa-4d82-93dd-4655ec71c09f" providerId="ADAL" clId="{41025DA7-181F-491C-9FBD-FBB8E4B572F0}" dt="2023-06-25T19:04:04.985" v="4838" actId="478"/>
          <ac:picMkLst>
            <pc:docMk/>
            <pc:sldMk cId="2729139457" sldId="353"/>
            <ac:picMk id="4" creationId="{0BA6B2EA-8FD3-3726-A47B-CEAE4F8A4C09}"/>
          </ac:picMkLst>
        </pc:picChg>
        <pc:picChg chg="add mod">
          <ac:chgData name="Nguyễn Lê Nhật Trường" userId="b57f1783-2bfa-4d82-93dd-4655ec71c09f" providerId="ADAL" clId="{41025DA7-181F-491C-9FBD-FBB8E4B572F0}" dt="2023-06-25T19:04:27.530" v="4845" actId="27614"/>
          <ac:picMkLst>
            <pc:docMk/>
            <pc:sldMk cId="2729139457" sldId="353"/>
            <ac:picMk id="7" creationId="{80B7F6A1-561C-2C02-3AC0-6504F68499D3}"/>
          </ac:picMkLst>
        </pc:picChg>
      </pc:sldChg>
      <pc:sldChg chg="addSp delSp modSp new mod">
        <pc:chgData name="Nguyễn Lê Nhật Trường" userId="b57f1783-2bfa-4d82-93dd-4655ec71c09f" providerId="ADAL" clId="{41025DA7-181F-491C-9FBD-FBB8E4B572F0}" dt="2023-06-25T19:19:05.561" v="5042" actId="1076"/>
        <pc:sldMkLst>
          <pc:docMk/>
          <pc:sldMk cId="4255835108" sldId="354"/>
        </pc:sldMkLst>
        <pc:spChg chg="mod">
          <ac:chgData name="Nguyễn Lê Nhật Trường" userId="b57f1783-2bfa-4d82-93dd-4655ec71c09f" providerId="ADAL" clId="{41025DA7-181F-491C-9FBD-FBB8E4B572F0}" dt="2023-06-25T19:15:02.294" v="5030" actId="20577"/>
          <ac:spMkLst>
            <pc:docMk/>
            <pc:sldMk cId="4255835108" sldId="354"/>
            <ac:spMk id="2" creationId="{011EB073-14B7-30B2-8380-092EE6D55533}"/>
          </ac:spMkLst>
        </pc:spChg>
        <pc:spChg chg="mod">
          <ac:chgData name="Nguyễn Lê Nhật Trường" userId="b57f1783-2bfa-4d82-93dd-4655ec71c09f" providerId="ADAL" clId="{41025DA7-181F-491C-9FBD-FBB8E4B572F0}" dt="2023-06-25T19:15:45.319" v="5032" actId="20577"/>
          <ac:spMkLst>
            <pc:docMk/>
            <pc:sldMk cId="4255835108" sldId="354"/>
            <ac:spMk id="3" creationId="{134345E8-FFB6-020E-7234-406A2A1923AB}"/>
          </ac:spMkLst>
        </pc:spChg>
        <pc:spChg chg="del">
          <ac:chgData name="Nguyễn Lê Nhật Trường" userId="b57f1783-2bfa-4d82-93dd-4655ec71c09f" providerId="ADAL" clId="{41025DA7-181F-491C-9FBD-FBB8E4B572F0}" dt="2023-06-25T19:17:16.655" v="5036" actId="478"/>
          <ac:spMkLst>
            <pc:docMk/>
            <pc:sldMk cId="4255835108" sldId="354"/>
            <ac:spMk id="4" creationId="{D99FB34D-F145-A98F-532E-522FAF2A9FCB}"/>
          </ac:spMkLst>
        </pc:spChg>
        <pc:picChg chg="add mod">
          <ac:chgData name="Nguyễn Lê Nhật Trường" userId="b57f1783-2bfa-4d82-93dd-4655ec71c09f" providerId="ADAL" clId="{41025DA7-181F-491C-9FBD-FBB8E4B572F0}" dt="2023-06-25T19:17:25.489" v="5038" actId="1076"/>
          <ac:picMkLst>
            <pc:docMk/>
            <pc:sldMk cId="4255835108" sldId="354"/>
            <ac:picMk id="6" creationId="{44A06960-C0FA-3898-9C65-94B09B6C81DA}"/>
          </ac:picMkLst>
        </pc:picChg>
        <pc:picChg chg="add mod modCrop">
          <ac:chgData name="Nguyễn Lê Nhật Trường" userId="b57f1783-2bfa-4d82-93dd-4655ec71c09f" providerId="ADAL" clId="{41025DA7-181F-491C-9FBD-FBB8E4B572F0}" dt="2023-06-25T19:19:05.561" v="5042" actId="1076"/>
          <ac:picMkLst>
            <pc:docMk/>
            <pc:sldMk cId="4255835108" sldId="354"/>
            <ac:picMk id="8" creationId="{C10F23BF-7ECB-4F6F-07DA-298630884D97}"/>
          </ac:picMkLst>
        </pc:picChg>
      </pc:sldChg>
      <pc:sldChg chg="add">
        <pc:chgData name="Nguyễn Lê Nhật Trường" userId="b57f1783-2bfa-4d82-93dd-4655ec71c09f" providerId="ADAL" clId="{41025DA7-181F-491C-9FBD-FBB8E4B572F0}" dt="2023-06-26T04:54:44.905" v="5080" actId="2890"/>
        <pc:sldMkLst>
          <pc:docMk/>
          <pc:sldMk cId="3101787268" sldId="355"/>
        </pc:sldMkLst>
      </pc:sldChg>
      <pc:sldMasterChg chg="addSldLayout modSldLayout">
        <pc:chgData name="Nguyễn Lê Nhật Trường" userId="b57f1783-2bfa-4d82-93dd-4655ec71c09f" providerId="ADAL" clId="{41025DA7-181F-491C-9FBD-FBB8E4B572F0}" dt="2023-06-25T18:00:08.946" v="4216" actId="27028"/>
        <pc:sldMasterMkLst>
          <pc:docMk/>
          <pc:sldMasterMk cId="3913860430" sldId="2147483660"/>
        </pc:sldMasterMkLst>
        <pc:sldLayoutChg chg="add">
          <pc:chgData name="Nguyễn Lê Nhật Trường" userId="b57f1783-2bfa-4d82-93dd-4655ec71c09f" providerId="ADAL" clId="{41025DA7-181F-491C-9FBD-FBB8E4B572F0}" dt="2023-06-19T13:45:51.310" v="0" actId="27028"/>
          <pc:sldLayoutMkLst>
            <pc:docMk/>
            <pc:sldMasterMk cId="3913860430" sldId="2147483660"/>
            <pc:sldLayoutMk cId="1632747725" sldId="2147483662"/>
          </pc:sldLayoutMkLst>
        </pc:sldLayoutChg>
        <pc:sldLayoutChg chg="add">
          <pc:chgData name="Nguyễn Lê Nhật Trường" userId="b57f1783-2bfa-4d82-93dd-4655ec71c09f" providerId="ADAL" clId="{41025DA7-181F-491C-9FBD-FBB8E4B572F0}" dt="2023-06-19T13:45:54.468" v="2" actId="27028"/>
          <pc:sldLayoutMkLst>
            <pc:docMk/>
            <pc:sldMasterMk cId="3913860430" sldId="2147483660"/>
            <pc:sldLayoutMk cId="2075586015" sldId="2147483673"/>
          </pc:sldLayoutMkLst>
        </pc:sldLayoutChg>
        <pc:sldLayoutChg chg="add">
          <pc:chgData name="Nguyễn Lê Nhật Trường" userId="b57f1783-2bfa-4d82-93dd-4655ec71c09f" providerId="ADAL" clId="{41025DA7-181F-491C-9FBD-FBB8E4B572F0}" dt="2023-06-25T18:00:08.946" v="4216" actId="27028"/>
          <pc:sldLayoutMkLst>
            <pc:docMk/>
            <pc:sldMasterMk cId="3913860430" sldId="2147483660"/>
            <pc:sldLayoutMk cId="79639580" sldId="2147483675"/>
          </pc:sldLayoutMkLst>
        </pc:sldLayoutChg>
        <pc:sldLayoutChg chg="delSp mod">
          <pc:chgData name="Nguyễn Lê Nhật Trường" userId="b57f1783-2bfa-4d82-93dd-4655ec71c09f" providerId="ADAL" clId="{41025DA7-181F-491C-9FBD-FBB8E4B572F0}" dt="2023-06-19T13:46:46.119" v="5" actId="21"/>
          <pc:sldLayoutMkLst>
            <pc:docMk/>
            <pc:sldMasterMk cId="3913860430" sldId="2147483660"/>
            <pc:sldLayoutMk cId="4045960848" sldId="2147483688"/>
          </pc:sldLayoutMkLst>
          <pc:spChg chg="del">
            <ac:chgData name="Nguyễn Lê Nhật Trường" userId="b57f1783-2bfa-4d82-93dd-4655ec71c09f" providerId="ADAL" clId="{41025DA7-181F-491C-9FBD-FBB8E4B572F0}" dt="2023-06-19T13:46:46.119" v="5" actId="21"/>
            <ac:spMkLst>
              <pc:docMk/>
              <pc:sldMasterMk cId="3913860430" sldId="2147483660"/>
              <pc:sldLayoutMk cId="4045960848" sldId="2147483688"/>
              <ac:spMk id="36" creationId="{48C3E4B5-BBA3-9F47-ADEA-FF870EA90B3F}"/>
            </ac:spMkLst>
          </pc:spChg>
        </pc:sldLayoutChg>
      </pc:sldMasterChg>
      <pc:sldMasterChg chg="add addSldLayout">
        <pc:chgData name="Nguyễn Lê Nhật Trường" userId="b57f1783-2bfa-4d82-93dd-4655ec71c09f" providerId="ADAL" clId="{41025DA7-181F-491C-9FBD-FBB8E4B572F0}" dt="2023-06-25T17:59:17.360" v="4214" actId="27028"/>
        <pc:sldMasterMkLst>
          <pc:docMk/>
          <pc:sldMasterMk cId="3913860430" sldId="2147483716"/>
        </pc:sldMasterMkLst>
        <pc:sldLayoutChg chg="add">
          <pc:chgData name="Nguyễn Lê Nhật Trường" userId="b57f1783-2bfa-4d82-93dd-4655ec71c09f" providerId="ADAL" clId="{41025DA7-181F-491C-9FBD-FBB8E4B572F0}" dt="2023-06-20T02:09:37.220" v="284" actId="27028"/>
          <pc:sldLayoutMkLst>
            <pc:docMk/>
            <pc:sldMasterMk cId="3913860430" sldId="2147483716"/>
            <pc:sldLayoutMk cId="2290820069" sldId="2147483694"/>
          </pc:sldLayoutMkLst>
        </pc:sldLayoutChg>
        <pc:sldLayoutChg chg="add">
          <pc:chgData name="Nguyễn Lê Nhật Trường" userId="b57f1783-2bfa-4d82-93dd-4655ec71c09f" providerId="ADAL" clId="{41025DA7-181F-491C-9FBD-FBB8E4B572F0}" dt="2023-06-20T02:10:44.315" v="288" actId="27028"/>
          <pc:sldLayoutMkLst>
            <pc:docMk/>
            <pc:sldMasterMk cId="3913860430" sldId="2147483716"/>
            <pc:sldLayoutMk cId="381385469" sldId="2147483784"/>
          </pc:sldLayoutMkLst>
        </pc:sldLayoutChg>
        <pc:sldLayoutChg chg="add">
          <pc:chgData name="Nguyễn Lê Nhật Trường" userId="b57f1783-2bfa-4d82-93dd-4655ec71c09f" providerId="ADAL" clId="{41025DA7-181F-491C-9FBD-FBB8E4B572F0}" dt="2023-06-25T17:59:17.360" v="4214" actId="27028"/>
          <pc:sldLayoutMkLst>
            <pc:docMk/>
            <pc:sldMasterMk cId="3913860430" sldId="2147483716"/>
            <pc:sldLayoutMk cId="1740352162" sldId="2147483805"/>
          </pc:sldLayoutMkLst>
        </pc:sldLayoutChg>
      </pc:sldMasterChg>
      <pc:sldMasterChg chg="add replId addSldLayout">
        <pc:chgData name="Nguyễn Lê Nhật Trường" userId="b57f1783-2bfa-4d82-93dd-4655ec71c09f" providerId="ADAL" clId="{41025DA7-181F-491C-9FBD-FBB8E4B572F0}" dt="2023-06-20T02:13:07.865" v="324" actId="27028"/>
        <pc:sldMasterMkLst>
          <pc:docMk/>
          <pc:sldMasterMk cId="3913860430" sldId="2147483782"/>
        </pc:sldMasterMkLst>
        <pc:sldLayoutChg chg="add">
          <pc:chgData name="Nguyễn Lê Nhật Trường" userId="b57f1783-2bfa-4d82-93dd-4655ec71c09f" providerId="ADAL" clId="{41025DA7-181F-491C-9FBD-FBB8E4B572F0}" dt="2023-06-20T02:10:20.961" v="286" actId="27028"/>
          <pc:sldLayoutMkLst>
            <pc:docMk/>
            <pc:sldMasterMk cId="3913860430" sldId="2147483782"/>
            <pc:sldLayoutMk cId="3525581494" sldId="2147483682"/>
          </pc:sldLayoutMkLst>
        </pc:sldLayoutChg>
      </pc:sldMasterChg>
      <pc:sldMasterChg chg="add addSldLayout">
        <pc:chgData name="Nguyễn Lê Nhật Trường" userId="b57f1783-2bfa-4d82-93dd-4655ec71c09f" providerId="ADAL" clId="{41025DA7-181F-491C-9FBD-FBB8E4B572F0}" dt="2023-06-20T02:09:10.719" v="282" actId="27028"/>
        <pc:sldMasterMkLst>
          <pc:docMk/>
          <pc:sldMasterMk cId="3913860430" sldId="2147483783"/>
        </pc:sldMasterMkLst>
        <pc:sldLayoutChg chg="add">
          <pc:chgData name="Nguyễn Lê Nhật Trường" userId="b57f1783-2bfa-4d82-93dd-4655ec71c09f" providerId="ADAL" clId="{41025DA7-181F-491C-9FBD-FBB8E4B572F0}" dt="2023-06-20T02:09:10.719" v="282" actId="27028"/>
          <pc:sldLayoutMkLst>
            <pc:docMk/>
            <pc:sldMasterMk cId="3913860430" sldId="2147483690"/>
            <pc:sldLayoutMk cId="2075586015" sldId="2147483715"/>
          </pc:sldLayoutMkLst>
        </pc:sldLayoutChg>
      </pc:sldMasterChg>
      <pc:sldMasterChg chg="add addSldLayout">
        <pc:chgData name="Nguyễn Lê Nhật Trường" userId="b57f1783-2bfa-4d82-93dd-4655ec71c09f" providerId="ADAL" clId="{41025DA7-181F-491C-9FBD-FBB8E4B572F0}" dt="2023-06-20T02:13:09.984" v="326" actId="27028"/>
        <pc:sldMasterMkLst>
          <pc:docMk/>
          <pc:sldMasterMk cId="3108030308" sldId="2147483785"/>
        </pc:sldMasterMkLst>
        <pc:sldLayoutChg chg="add">
          <pc:chgData name="Nguyễn Lê Nhật Trường" userId="b57f1783-2bfa-4d82-93dd-4655ec71c09f" providerId="ADAL" clId="{41025DA7-181F-491C-9FBD-FBB8E4B572F0}" dt="2023-06-20T02:13:07.865" v="324" actId="27028"/>
          <pc:sldLayoutMkLst>
            <pc:docMk/>
            <pc:sldMasterMk cId="3108030308" sldId="2147483717"/>
            <pc:sldLayoutMk cId="1976946984" sldId="2147483727"/>
          </pc:sldLayoutMkLst>
        </pc:sldLayoutChg>
        <pc:sldLayoutChg chg="add">
          <pc:chgData name="Nguyễn Lê Nhật Trường" userId="b57f1783-2bfa-4d82-93dd-4655ec71c09f" providerId="ADAL" clId="{41025DA7-181F-491C-9FBD-FBB8E4B572F0}" dt="2023-06-20T02:13:09.984" v="326" actId="27028"/>
          <pc:sldLayoutMkLst>
            <pc:docMk/>
            <pc:sldMasterMk cId="3108030308" sldId="2147483717"/>
            <pc:sldLayoutMk cId="606161383" sldId="2147483735"/>
          </pc:sldLayoutMkLst>
        </pc:sldLayoutChg>
      </pc:sldMasterChg>
    </pc:docChg>
  </pc:docChgLst>
  <pc:docChgLst>
    <pc:chgData name="Cao Nguyễn Hoàng Hiệp" userId="S::cnhh@netcompany.com::29e31dbb-69b0-4c0d-9b1b-e95034dacd00" providerId="AD" clId="Web-{BD816716-BBD7-4A5A-B975-81CAD47AEC17}"/>
    <pc:docChg chg="modSld">
      <pc:chgData name="Cao Nguyễn Hoàng Hiệp" userId="S::cnhh@netcompany.com::29e31dbb-69b0-4c0d-9b1b-e95034dacd00" providerId="AD" clId="Web-{BD816716-BBD7-4A5A-B975-81CAD47AEC17}" dt="2023-06-25T17:20:34.832" v="12" actId="20577"/>
      <pc:docMkLst>
        <pc:docMk/>
      </pc:docMkLst>
      <pc:sldChg chg="addSp delSp modSp">
        <pc:chgData name="Cao Nguyễn Hoàng Hiệp" userId="S::cnhh@netcompany.com::29e31dbb-69b0-4c0d-9b1b-e95034dacd00" providerId="AD" clId="Web-{BD816716-BBD7-4A5A-B975-81CAD47AEC17}" dt="2023-06-25T17:20:34.832" v="12" actId="20577"/>
        <pc:sldMkLst>
          <pc:docMk/>
          <pc:sldMk cId="3924228562" sldId="334"/>
        </pc:sldMkLst>
        <pc:spChg chg="mod">
          <ac:chgData name="Cao Nguyễn Hoàng Hiệp" userId="S::cnhh@netcompany.com::29e31dbb-69b0-4c0d-9b1b-e95034dacd00" providerId="AD" clId="Web-{BD816716-BBD7-4A5A-B975-81CAD47AEC17}" dt="2023-06-25T17:20:34.832" v="12" actId="20577"/>
          <ac:spMkLst>
            <pc:docMk/>
            <pc:sldMk cId="3924228562" sldId="334"/>
            <ac:spMk id="3" creationId="{483EB76D-DCD7-8849-23CF-9EC6A15958B8}"/>
          </ac:spMkLst>
        </pc:spChg>
        <pc:picChg chg="del">
          <ac:chgData name="Cao Nguyễn Hoàng Hiệp" userId="S::cnhh@netcompany.com::29e31dbb-69b0-4c0d-9b1b-e95034dacd00" providerId="AD" clId="Web-{BD816716-BBD7-4A5A-B975-81CAD47AEC17}" dt="2023-06-25T17:19:40.345" v="0"/>
          <ac:picMkLst>
            <pc:docMk/>
            <pc:sldMk cId="3924228562" sldId="334"/>
            <ac:picMk id="4" creationId="{73DFD854-DC1B-6489-E2CF-AE8ABCA586A9}"/>
          </ac:picMkLst>
        </pc:picChg>
        <pc:picChg chg="add mod">
          <ac:chgData name="Cao Nguyễn Hoàng Hiệp" userId="S::cnhh@netcompany.com::29e31dbb-69b0-4c0d-9b1b-e95034dacd00" providerId="AD" clId="Web-{BD816716-BBD7-4A5A-B975-81CAD47AEC17}" dt="2023-06-25T17:20:12.221" v="6" actId="1076"/>
          <ac:picMkLst>
            <pc:docMk/>
            <pc:sldMk cId="3924228562" sldId="334"/>
            <ac:picMk id="5" creationId="{344358B0-AF30-5233-9F7F-D3127B39AAC5}"/>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F614F0E6-CE19-4869-88FD-8A64D693C282}">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Manage activity</a:t>
          </a:r>
          <a:endParaRPr lang="vi-VN"/>
        </a:p>
      </dgm:t>
    </dgm:pt>
    <dgm:pt modelId="{1FFD6D64-3232-4A56-99E2-A8A312E21CDE}" type="parTrans" cxnId="{BCE57342-FBAD-492C-B2A6-3F176F90B581}">
      <dgm:prSet/>
      <dgm:spPr/>
      <dgm:t>
        <a:bodyPr/>
        <a:lstStyle/>
        <a:p>
          <a:endParaRPr lang="vi-VN"/>
        </a:p>
      </dgm:t>
    </dgm:pt>
    <dgm:pt modelId="{A2E9FA39-32CE-4CE3-B764-789AD892B40E}" type="sibTrans" cxnId="{BCE57342-FBAD-492C-B2A6-3F176F90B581}">
      <dgm:prSet/>
      <dgm:spPr/>
      <dgm:t>
        <a:bodyPr/>
        <a:lstStyle/>
        <a:p>
          <a:endParaRPr lang="vi-VN"/>
        </a:p>
      </dgm:t>
    </dgm:pt>
    <dgm:pt modelId="{3E657125-A671-4F7C-A57A-6B6BFEA768C1}">
      <dgm:prSet/>
      <dgm:spPr/>
      <dgm:t>
        <a:bodyPr/>
        <a:lstStyle/>
        <a:p>
          <a:r>
            <a:rPr lang="en-US"/>
            <a:t>View activity</a:t>
          </a:r>
          <a:endParaRPr lang="vi-VN"/>
        </a:p>
      </dgm:t>
    </dgm:pt>
    <dgm:pt modelId="{AA83FE5B-80E3-43ED-B261-45335B83A457}" type="parTrans" cxnId="{3A2664C5-6103-48DB-B194-AF392537F8DE}">
      <dgm:prSet/>
      <dgm:spPr/>
      <dgm:t>
        <a:bodyPr/>
        <a:lstStyle/>
        <a:p>
          <a:endParaRPr lang="vi-VN"/>
        </a:p>
      </dgm:t>
    </dgm:pt>
    <dgm:pt modelId="{09070EA6-6A1A-42AE-8AC3-4685452570EA}" type="sibTrans" cxnId="{3A2664C5-6103-48DB-B194-AF392537F8DE}">
      <dgm:prSet/>
      <dgm:spPr/>
      <dgm:t>
        <a:bodyPr/>
        <a:lstStyle/>
        <a:p>
          <a:endParaRPr lang="vi-VN"/>
        </a:p>
      </dgm:t>
    </dgm:pt>
    <dgm:pt modelId="{476B8C27-D82A-411D-887B-A5D10CB84E15}">
      <dgm:prSet/>
      <dgm:spPr/>
      <dgm:t>
        <a:bodyPr/>
        <a:lstStyle/>
        <a:p>
          <a:r>
            <a:rPr lang="en-US"/>
            <a:t>Update activity</a:t>
          </a:r>
          <a:endParaRPr lang="vi-VN"/>
        </a:p>
      </dgm:t>
    </dgm:pt>
    <dgm:pt modelId="{9903C43E-7819-45CF-9702-2FB1088E4161}" type="parTrans" cxnId="{48C58FB4-23FD-49D1-BB63-5051BCFC6EA9}">
      <dgm:prSet/>
      <dgm:spPr/>
      <dgm:t>
        <a:bodyPr/>
        <a:lstStyle/>
        <a:p>
          <a:endParaRPr lang="vi-VN"/>
        </a:p>
      </dgm:t>
    </dgm:pt>
    <dgm:pt modelId="{59C0576A-11D9-4E83-A282-4FAF007E90B9}" type="sibTrans" cxnId="{48C58FB4-23FD-49D1-BB63-5051BCFC6EA9}">
      <dgm:prSet/>
      <dgm:spPr/>
      <dgm:t>
        <a:bodyPr/>
        <a:lstStyle/>
        <a:p>
          <a:endParaRPr lang="vi-VN"/>
        </a:p>
      </dgm:t>
    </dgm:pt>
    <dgm:pt modelId="{5E3D20EF-A1D9-4622-A6A1-C9B5FF2BD515}">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List activity</a:t>
          </a:r>
          <a:endParaRPr lang="vi-VN"/>
        </a:p>
      </dgm:t>
    </dgm:pt>
    <dgm:pt modelId="{BE858912-A960-4335-A357-564D6C2FFF93}" type="parTrans" cxnId="{2818C379-7C87-45D2-9E57-4DB47E6F3A82}">
      <dgm:prSet/>
      <dgm:spPr/>
      <dgm:t>
        <a:bodyPr/>
        <a:lstStyle/>
        <a:p>
          <a:endParaRPr lang="vi-VN"/>
        </a:p>
      </dgm:t>
    </dgm:pt>
    <dgm:pt modelId="{052EC144-DEF2-450B-891C-60255130464E}" type="sibTrans" cxnId="{2818C379-7C87-45D2-9E57-4DB47E6F3A82}">
      <dgm:prSet/>
      <dgm:spPr/>
      <dgm:t>
        <a:bodyPr/>
        <a:lstStyle/>
        <a:p>
          <a:endParaRPr lang="vi-VN"/>
        </a:p>
      </dgm:t>
    </dgm:pt>
    <dgm:pt modelId="{9EE83E31-5552-4C14-AD4F-4C5194C3A1AC}">
      <dgm:prSet/>
      <dgm:spPr/>
      <dgm:t>
        <a:bodyPr/>
        <a:lstStyle/>
        <a:p>
          <a:r>
            <a:rPr lang="en-US"/>
            <a:t>View Activity</a:t>
          </a:r>
          <a:endParaRPr lang="vi-VN"/>
        </a:p>
      </dgm:t>
    </dgm:pt>
    <dgm:pt modelId="{7E31DAD7-241E-4BDB-8302-CF1A8EBE7E68}" type="parTrans" cxnId="{238DB292-2FA7-4C9E-898D-699C4DA348E6}">
      <dgm:prSet/>
      <dgm:spPr/>
      <dgm:t>
        <a:bodyPr/>
        <a:lstStyle/>
        <a:p>
          <a:endParaRPr lang="vi-VN"/>
        </a:p>
      </dgm:t>
    </dgm:pt>
    <dgm:pt modelId="{FA0D0F67-0AF3-4538-9748-A7D19795C1AB}" type="sibTrans" cxnId="{238DB292-2FA7-4C9E-898D-699C4DA348E6}">
      <dgm:prSet/>
      <dgm:spPr/>
      <dgm:t>
        <a:bodyPr/>
        <a:lstStyle/>
        <a:p>
          <a:endParaRPr lang="vi-VN"/>
        </a:p>
      </dgm:t>
    </dgm:pt>
    <dgm:pt modelId="{50303AD9-76D4-40F1-92FB-4C94EF15F74F}">
      <dgm:prSet/>
      <dgm:spPr/>
      <dgm:t>
        <a:bodyPr/>
        <a:lstStyle/>
        <a:p>
          <a:r>
            <a:rPr lang="en-US"/>
            <a:t>Sign up</a:t>
          </a:r>
          <a:endParaRPr lang="vi-VN"/>
        </a:p>
      </dgm:t>
    </dgm:pt>
    <dgm:pt modelId="{5B5BB7E4-4205-40AE-B561-5F7693918D75}" type="parTrans" cxnId="{F9068958-4C19-41FA-AF18-64520EE08676}">
      <dgm:prSet/>
      <dgm:spPr/>
      <dgm:t>
        <a:bodyPr/>
        <a:lstStyle/>
        <a:p>
          <a:endParaRPr lang="vi-VN"/>
        </a:p>
      </dgm:t>
    </dgm:pt>
    <dgm:pt modelId="{F35956C8-AD39-4B6A-B6DE-D4EEB67A1DC7}" type="sibTrans" cxnId="{F9068958-4C19-41FA-AF18-64520EE08676}">
      <dgm:prSet/>
      <dgm:spPr/>
      <dgm:t>
        <a:bodyPr/>
        <a:lstStyle/>
        <a:p>
          <a:endParaRPr lang="vi-VN"/>
        </a:p>
      </dgm:t>
    </dgm:pt>
    <dgm:pt modelId="{BF8A21FC-C2CD-4C25-9E92-FB50A7FF815B}">
      <dgm:prSet/>
      <dgm:spPr/>
      <dgm:t>
        <a:bodyPr/>
        <a:lstStyle/>
        <a:p>
          <a:r>
            <a:rPr lang="en-US"/>
            <a:t>Sign out</a:t>
          </a:r>
          <a:endParaRPr lang="vi-VN"/>
        </a:p>
      </dgm:t>
    </dgm:pt>
    <dgm:pt modelId="{5EA67257-49ED-463A-912C-43DC5FA729A3}" type="parTrans" cxnId="{AB9C351D-82D4-48EE-A4F9-C484142FF164}">
      <dgm:prSet/>
      <dgm:spPr/>
      <dgm:t>
        <a:bodyPr/>
        <a:lstStyle/>
        <a:p>
          <a:endParaRPr lang="vi-VN"/>
        </a:p>
      </dgm:t>
    </dgm:pt>
    <dgm:pt modelId="{2263153B-4B17-457B-8A6D-9E48B0F974DA}" type="sibTrans" cxnId="{AB9C351D-82D4-48EE-A4F9-C484142FF164}">
      <dgm:prSet/>
      <dgm:spPr/>
      <dgm:t>
        <a:bodyPr/>
        <a:lstStyle/>
        <a:p>
          <a:endParaRPr lang="vi-VN"/>
        </a:p>
      </dgm:t>
    </dgm:pt>
    <dgm:pt modelId="{C1F60B1D-6A4C-49B5-9FE5-8E6C988E08D7}">
      <dgm:prSet/>
      <dgm:spPr/>
      <dgm:t>
        <a:bodyPr/>
        <a:lstStyle/>
        <a:p>
          <a:r>
            <a:rPr lang="en-US"/>
            <a:t>Update user</a:t>
          </a:r>
          <a:endParaRPr lang="vi-VN"/>
        </a:p>
      </dgm:t>
    </dgm:pt>
    <dgm:pt modelId="{E2D6200B-497F-46B1-8901-C41E7A0EFA22}" type="parTrans" cxnId="{F49BED94-B506-4FD4-936C-1485805F01F8}">
      <dgm:prSet/>
      <dgm:spPr/>
      <dgm:t>
        <a:bodyPr/>
        <a:lstStyle/>
        <a:p>
          <a:endParaRPr lang="vi-VN"/>
        </a:p>
      </dgm:t>
    </dgm:pt>
    <dgm:pt modelId="{5F673325-14AA-43D7-A981-0B643FF03EE2}" type="sibTrans" cxnId="{F49BED94-B506-4FD4-936C-1485805F01F8}">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12">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12">
        <dgm:presLayoutVars>
          <dgm:chPref val="3"/>
        </dgm:presLayoutVars>
      </dgm:prSet>
      <dgm:spPr/>
    </dgm:pt>
    <dgm:pt modelId="{CC9EED9B-BE3C-4011-8191-C6F57B88AA13}" type="pres">
      <dgm:prSet presAssocID="{2D06292C-4259-4828-B1CA-9047FC051FD0}" presName="parTransFour" presStyleCnt="0"/>
      <dgm:spPr/>
    </dgm:pt>
    <dgm:pt modelId="{834BEABC-571F-497A-8F1D-1DA0C88ACBD0}" type="pres">
      <dgm:prSet presAssocID="{2D06292C-4259-4828-B1CA-9047FC051FD0}" presName="horzFour" presStyleCnt="0"/>
      <dgm:spPr/>
    </dgm:pt>
    <dgm:pt modelId="{757923D9-2EC0-40B6-B9D7-F17BC0A8DD29}" type="pres">
      <dgm:prSet presAssocID="{C1F60B1D-6A4C-49B5-9FE5-8E6C988E08D7}" presName="vertFour" presStyleCnt="0">
        <dgm:presLayoutVars>
          <dgm:chPref val="3"/>
        </dgm:presLayoutVars>
      </dgm:prSet>
      <dgm:spPr/>
    </dgm:pt>
    <dgm:pt modelId="{C920CEF5-6DDA-4154-BFEF-12EED1B18761}" type="pres">
      <dgm:prSet presAssocID="{C1F60B1D-6A4C-49B5-9FE5-8E6C988E08D7}" presName="txFour" presStyleLbl="node4" presStyleIdx="2" presStyleCnt="12">
        <dgm:presLayoutVars>
          <dgm:chPref val="3"/>
        </dgm:presLayoutVars>
      </dgm:prSet>
      <dgm:spPr/>
    </dgm:pt>
    <dgm:pt modelId="{193560A2-4A9D-4CAC-A68B-CA6A02E54C10}" type="pres">
      <dgm:prSet presAssocID="{C1F60B1D-6A4C-49B5-9FE5-8E6C988E08D7}" presName="horzFour" presStyleCnt="0"/>
      <dgm:spPr/>
    </dgm:pt>
    <dgm:pt modelId="{40663D6C-8364-4056-A47F-F3169560D2E3}" type="pres">
      <dgm:prSet presAssocID="{97883FFC-60D4-4BF0-B4FA-EB0ABE8EA0C3}" presName="sibSpaceFour" presStyleCnt="0"/>
      <dgm:spPr/>
    </dgm:pt>
    <dgm:pt modelId="{21CF4778-5E84-4A85-8969-BACB2793E079}" type="pres">
      <dgm:prSet presAssocID="{F614F0E6-CE19-4869-88FD-8A64D693C282}" presName="vertFour" presStyleCnt="0">
        <dgm:presLayoutVars>
          <dgm:chPref val="3"/>
        </dgm:presLayoutVars>
      </dgm:prSet>
      <dgm:spPr/>
    </dgm:pt>
    <dgm:pt modelId="{05C7A7C6-A8DF-4D56-A7EC-9B33AF937D98}" type="pres">
      <dgm:prSet presAssocID="{F614F0E6-CE19-4869-88FD-8A64D693C282}" presName="txFour" presStyleLbl="node4" presStyleIdx="3" presStyleCnt="12">
        <dgm:presLayoutVars>
          <dgm:chPref val="3"/>
        </dgm:presLayoutVars>
      </dgm:prSet>
      <dgm:spPr/>
    </dgm:pt>
    <dgm:pt modelId="{78CDC9BF-E4A1-408C-94C2-296297166C54}" type="pres">
      <dgm:prSet presAssocID="{F614F0E6-CE19-4869-88FD-8A64D693C282}" presName="parTransFour" presStyleCnt="0"/>
      <dgm:spPr/>
    </dgm:pt>
    <dgm:pt modelId="{5F8BBD7C-4C89-4811-A1F4-B7A9497E0809}" type="pres">
      <dgm:prSet presAssocID="{F614F0E6-CE19-4869-88FD-8A64D693C282}" presName="horzFour" presStyleCnt="0"/>
      <dgm:spPr/>
    </dgm:pt>
    <dgm:pt modelId="{E73BFF39-5160-4BAC-B7A9-1585760C903F}" type="pres">
      <dgm:prSet presAssocID="{3E657125-A671-4F7C-A57A-6B6BFEA768C1}" presName="vertFour" presStyleCnt="0">
        <dgm:presLayoutVars>
          <dgm:chPref val="3"/>
        </dgm:presLayoutVars>
      </dgm:prSet>
      <dgm:spPr/>
    </dgm:pt>
    <dgm:pt modelId="{26A87C7B-C01B-4F12-8FEB-CA6DD1935BC2}" type="pres">
      <dgm:prSet presAssocID="{3E657125-A671-4F7C-A57A-6B6BFEA768C1}" presName="txFour" presStyleLbl="node4" presStyleIdx="4" presStyleCnt="12">
        <dgm:presLayoutVars>
          <dgm:chPref val="3"/>
        </dgm:presLayoutVars>
      </dgm:prSet>
      <dgm:spPr/>
    </dgm:pt>
    <dgm:pt modelId="{B850C9C7-9722-4108-A4F3-545042FDAC76}" type="pres">
      <dgm:prSet presAssocID="{3E657125-A671-4F7C-A57A-6B6BFEA768C1}" presName="parTransFour" presStyleCnt="0"/>
      <dgm:spPr/>
    </dgm:pt>
    <dgm:pt modelId="{E0EAADF9-7DE7-4106-818D-42BC50B73AAA}" type="pres">
      <dgm:prSet presAssocID="{3E657125-A671-4F7C-A57A-6B6BFEA768C1}" presName="horzFour" presStyleCnt="0"/>
      <dgm:spPr/>
    </dgm:pt>
    <dgm:pt modelId="{CE19B5B3-4A20-4AA2-9F3E-5516B5D67491}" type="pres">
      <dgm:prSet presAssocID="{476B8C27-D82A-411D-887B-A5D10CB84E15}" presName="vertFour" presStyleCnt="0">
        <dgm:presLayoutVars>
          <dgm:chPref val="3"/>
        </dgm:presLayoutVars>
      </dgm:prSet>
      <dgm:spPr/>
    </dgm:pt>
    <dgm:pt modelId="{B3C0F0B6-427F-4365-883E-F44A7D418F93}" type="pres">
      <dgm:prSet presAssocID="{476B8C27-D82A-411D-887B-A5D10CB84E15}" presName="txFour" presStyleLbl="node4" presStyleIdx="5" presStyleCnt="12">
        <dgm:presLayoutVars>
          <dgm:chPref val="3"/>
        </dgm:presLayoutVars>
      </dgm:prSet>
      <dgm:spPr/>
    </dgm:pt>
    <dgm:pt modelId="{1B994FA3-4D72-4555-A06E-DC48FD56B22D}" type="pres">
      <dgm:prSet presAssocID="{476B8C27-D82A-411D-887B-A5D10CB84E15}"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343533DD-743D-4C0B-9DD7-9C6B77F35B4B}"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437FD263-5710-4AF9-BD0C-88915D74A1E8}" type="pres">
      <dgm:prSet presAssocID="{5E3D20EF-A1D9-4622-A6A1-C9B5FF2BD515}" presName="vertFour" presStyleCnt="0">
        <dgm:presLayoutVars>
          <dgm:chPref val="3"/>
        </dgm:presLayoutVars>
      </dgm:prSet>
      <dgm:spPr/>
    </dgm:pt>
    <dgm:pt modelId="{5D5B6D22-EDCE-4EB7-9392-4FCACCA2DDBE}" type="pres">
      <dgm:prSet presAssocID="{5E3D20EF-A1D9-4622-A6A1-C9B5FF2BD515}" presName="txFour" presStyleLbl="node4" presStyleIdx="6" presStyleCnt="12">
        <dgm:presLayoutVars>
          <dgm:chPref val="3"/>
        </dgm:presLayoutVars>
      </dgm:prSet>
      <dgm:spPr/>
    </dgm:pt>
    <dgm:pt modelId="{22C22058-1046-44AF-AD86-239DE8C4AC86}" type="pres">
      <dgm:prSet presAssocID="{5E3D20EF-A1D9-4622-A6A1-C9B5FF2BD515}" presName="parTransFour" presStyleCnt="0"/>
      <dgm:spPr/>
    </dgm:pt>
    <dgm:pt modelId="{F36087D5-FE8F-4098-998C-CAA17CC7F291}" type="pres">
      <dgm:prSet presAssocID="{5E3D20EF-A1D9-4622-A6A1-C9B5FF2BD515}" presName="horzFour" presStyleCnt="0"/>
      <dgm:spPr/>
    </dgm:pt>
    <dgm:pt modelId="{A1CCAA3F-0167-49EC-B6AC-0A9BF52A48ED}" type="pres">
      <dgm:prSet presAssocID="{9EE83E31-5552-4C14-AD4F-4C5194C3A1AC}" presName="vertFour" presStyleCnt="0">
        <dgm:presLayoutVars>
          <dgm:chPref val="3"/>
        </dgm:presLayoutVars>
      </dgm:prSet>
      <dgm:spPr/>
    </dgm:pt>
    <dgm:pt modelId="{37EEE7E1-BA9A-46A3-B460-2D20AFBC73B9}" type="pres">
      <dgm:prSet presAssocID="{9EE83E31-5552-4C14-AD4F-4C5194C3A1AC}" presName="txFour" presStyleLbl="node4" presStyleIdx="7" presStyleCnt="12">
        <dgm:presLayoutVars>
          <dgm:chPref val="3"/>
        </dgm:presLayoutVars>
      </dgm:prSet>
      <dgm:spPr/>
    </dgm:pt>
    <dgm:pt modelId="{6F8B00CD-CB4B-4E8A-815B-42E8F9EAA2F0}" type="pres">
      <dgm:prSet presAssocID="{9EE83E31-5552-4C14-AD4F-4C5194C3A1AC}" presName="parTransFour" presStyleCnt="0"/>
      <dgm:spPr/>
    </dgm:pt>
    <dgm:pt modelId="{671976CC-B093-4477-8520-AEED9E090075}" type="pres">
      <dgm:prSet presAssocID="{9EE83E31-5552-4C14-AD4F-4C5194C3A1AC}" presName="horzFour" presStyleCnt="0"/>
      <dgm:spPr/>
    </dgm:pt>
    <dgm:pt modelId="{F8945EA4-B54B-468A-B63E-45840BD57556}" type="pres">
      <dgm:prSet presAssocID="{50303AD9-76D4-40F1-92FB-4C94EF15F74F}" presName="vertFour" presStyleCnt="0">
        <dgm:presLayoutVars>
          <dgm:chPref val="3"/>
        </dgm:presLayoutVars>
      </dgm:prSet>
      <dgm:spPr/>
    </dgm:pt>
    <dgm:pt modelId="{498E8B4B-112E-4C48-AA0C-0A93AF64DB86}" type="pres">
      <dgm:prSet presAssocID="{50303AD9-76D4-40F1-92FB-4C94EF15F74F}" presName="txFour" presStyleLbl="node4" presStyleIdx="8" presStyleCnt="12">
        <dgm:presLayoutVars>
          <dgm:chPref val="3"/>
        </dgm:presLayoutVars>
      </dgm:prSet>
      <dgm:spPr/>
    </dgm:pt>
    <dgm:pt modelId="{4E487C47-E5F7-44ED-94A7-F8798CEF5A4C}" type="pres">
      <dgm:prSet presAssocID="{50303AD9-76D4-40F1-92FB-4C94EF15F74F}" presName="horzFour" presStyleCnt="0"/>
      <dgm:spPr/>
    </dgm:pt>
    <dgm:pt modelId="{C5FFAAD3-2047-40B9-81F1-61432167AC62}" type="pres">
      <dgm:prSet presAssocID="{F35956C8-AD39-4B6A-B6DE-D4EEB67A1DC7}" presName="sibSpaceFour" presStyleCnt="0"/>
      <dgm:spPr/>
    </dgm:pt>
    <dgm:pt modelId="{8106F50D-9E6A-4297-99AD-24E45ED931EC}" type="pres">
      <dgm:prSet presAssocID="{BF8A21FC-C2CD-4C25-9E92-FB50A7FF815B}" presName="vertFour" presStyleCnt="0">
        <dgm:presLayoutVars>
          <dgm:chPref val="3"/>
        </dgm:presLayoutVars>
      </dgm:prSet>
      <dgm:spPr/>
    </dgm:pt>
    <dgm:pt modelId="{EF3E5C27-2AED-4300-BC42-6B0E04D86765}" type="pres">
      <dgm:prSet presAssocID="{BF8A21FC-C2CD-4C25-9E92-FB50A7FF815B}" presName="txFour" presStyleLbl="node4" presStyleIdx="9" presStyleCnt="12">
        <dgm:presLayoutVars>
          <dgm:chPref val="3"/>
        </dgm:presLayoutVars>
      </dgm:prSet>
      <dgm:spPr/>
    </dgm:pt>
    <dgm:pt modelId="{E572E428-4BAA-40B8-899E-926D8205C6D8}" type="pres">
      <dgm:prSet presAssocID="{BF8A21FC-C2CD-4C25-9E92-FB50A7FF815B}" presName="horzFour" presStyleCnt="0"/>
      <dgm:spPr/>
    </dgm:pt>
    <dgm:pt modelId="{A6F439B6-F38F-4E4B-8876-B2C2D4438EF3}" type="pres">
      <dgm:prSet presAssocID="{052EC144-DEF2-450B-891C-60255130464E}" presName="sibSpaceFour"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10" presStyleCnt="12">
        <dgm:presLayoutVars>
          <dgm:chPref val="3"/>
        </dgm:presLayoutVars>
      </dgm:prSet>
      <dgm:spPr/>
    </dgm:pt>
    <dgm:pt modelId="{A5B040D4-214E-482E-845E-E8B3A0BB4B48}"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11" presStyleCnt="12">
        <dgm:presLayoutVars>
          <dgm:chPref val="3"/>
        </dgm:presLayoutVars>
      </dgm:prSet>
      <dgm:spPr/>
    </dgm:pt>
    <dgm:pt modelId="{8AA176B0-933C-47B7-BAE1-26E1D16A0899}" type="pres">
      <dgm:prSet presAssocID="{48E029B4-CCC2-409F-850C-59A32D69BF9A}" presName="horzFour" presStyleCnt="0"/>
      <dgm:spPr/>
    </dgm:pt>
  </dgm:ptLst>
  <dgm:cxnLst>
    <dgm:cxn modelId="{32573806-ECAE-4224-AFC3-AF5FF2E93D9C}" type="presOf" srcId="{48E029B4-CCC2-409F-850C-59A32D69BF9A}" destId="{506BE77E-9718-4F22-9258-BF56BABF942B}" srcOrd="0" destOrd="0" presId="urn:microsoft.com/office/officeart/2005/8/layout/architecture"/>
    <dgm:cxn modelId="{ACE5730A-6935-4210-A8CF-FFD7316E2E45}" type="presOf" srcId="{5E3D20EF-A1D9-4622-A6A1-C9B5FF2BD515}" destId="{5D5B6D22-EDCE-4EB7-9392-4FCACCA2DDBE}" srcOrd="0" destOrd="0" presId="urn:microsoft.com/office/officeart/2005/8/layout/architecture"/>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1" destOrd="0" parTransId="{361217A6-DCA0-45F8-8BC8-50DE0E01CA8B}" sibTransId="{83CE76D1-B1BD-49E3-A4A4-1982B033ADBF}"/>
    <dgm:cxn modelId="{AB9C351D-82D4-48EE-A4F9-C484142FF164}" srcId="{9EE83E31-5552-4C14-AD4F-4C5194C3A1AC}" destId="{BF8A21FC-C2CD-4C25-9E92-FB50A7FF815B}" srcOrd="1" destOrd="0" parTransId="{5EA67257-49ED-463A-912C-43DC5FA729A3}" sibTransId="{2263153B-4B17-457B-8A6D-9E48B0F974DA}"/>
    <dgm:cxn modelId="{A375BD1E-3069-40D2-9B88-E421D9FACE68}" type="presOf" srcId="{F614F0E6-CE19-4869-88FD-8A64D693C282}" destId="{05C7A7C6-A8DF-4D56-A7EC-9B33AF937D98}" srcOrd="0" destOrd="0" presId="urn:microsoft.com/office/officeart/2005/8/layout/architecture"/>
    <dgm:cxn modelId="{C1AD9C25-2767-4773-BBA0-A24E4BCE6F9F}" srcId="{5CABFB2F-18BE-43F7-B34F-23989EC7D752}" destId="{50787CEA-7436-4E60-8212-873ED94AA65A}" srcOrd="0" destOrd="0" parTransId="{D60CEA22-052A-4CDD-9CE3-702F13D35AF6}" sibTransId="{096734E9-5C08-4FB4-B404-FA129DB6C042}"/>
    <dgm:cxn modelId="{30E1E228-434F-434E-8D9A-9EAB439F9E5E}" type="presOf" srcId="{476B8C27-D82A-411D-887B-A5D10CB84E15}" destId="{B3C0F0B6-427F-4365-883E-F44A7D418F93}" srcOrd="0" destOrd="0" presId="urn:microsoft.com/office/officeart/2005/8/layout/architecture"/>
    <dgm:cxn modelId="{C036F02F-FBB5-491C-85E6-343A3275A73D}" type="presOf" srcId="{C1F60B1D-6A4C-49B5-9FE5-8E6C988E08D7}" destId="{C920CEF5-6DDA-4154-BFEF-12EED1B18761}" srcOrd="0" destOrd="0" presId="urn:microsoft.com/office/officeart/2005/8/layout/architecture"/>
    <dgm:cxn modelId="{D398653D-3A03-4FE2-B1E7-BA0F30ABFCB3}" srcId="{FF545D1D-B148-4301-B72A-ED72035562DA}" destId="{48E029B4-CCC2-409F-850C-59A32D69BF9A}" srcOrd="0" destOrd="0" parTransId="{FD67280A-8448-43FE-B044-31BB0A70211F}" sibTransId="{F2EE8EBF-4A87-426C-8326-D826A12858BE}"/>
    <dgm:cxn modelId="{BCE57342-FBAD-492C-B2A6-3F176F90B581}" srcId="{7ECAC806-65D5-42B6-95F5-A272625E902E}" destId="{F614F0E6-CE19-4869-88FD-8A64D693C282}" srcOrd="1" destOrd="0" parTransId="{1FFD6D64-3232-4A56-99E2-A8A312E21CDE}" sibTransId="{A2E9FA39-32CE-4CE3-B764-789AD892B40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C081566A-DED9-4E00-BC81-D80962FECBE5}" type="presOf" srcId="{FF545D1D-B148-4301-B72A-ED72035562DA}" destId="{1FCEF47A-5290-466B-8FBA-055D887A939A}" srcOrd="0" destOrd="0" presId="urn:microsoft.com/office/officeart/2005/8/layout/architecture"/>
    <dgm:cxn modelId="{A8BB2371-5F93-4D4F-B7CA-4D7901FC4B75}" srcId="{50787CEA-7436-4E60-8212-873ED94AA65A}" destId="{7ECAC806-65D5-42B6-95F5-A272625E902E}" srcOrd="0" destOrd="0" parTransId="{B477479E-B2B8-4285-9E4A-170BF8178A56}" sibTransId="{28AB5868-0E10-4B23-8FD1-8BC2C07345BD}"/>
    <dgm:cxn modelId="{471A4754-FEDB-4ED1-8B57-7ADA9F6D9D7C}" type="presOf" srcId="{BF8A21FC-C2CD-4C25-9E92-FB50A7FF815B}" destId="{EF3E5C27-2AED-4300-BC42-6B0E04D86765}" srcOrd="0" destOrd="0" presId="urn:microsoft.com/office/officeart/2005/8/layout/architecture"/>
    <dgm:cxn modelId="{F9068958-4C19-41FA-AF18-64520EE08676}" srcId="{9EE83E31-5552-4C14-AD4F-4C5194C3A1AC}" destId="{50303AD9-76D4-40F1-92FB-4C94EF15F74F}" srcOrd="0" destOrd="0" parTransId="{5B5BB7E4-4205-40AE-B561-5F7693918D75}" sibTransId="{F35956C8-AD39-4B6A-B6DE-D4EEB67A1DC7}"/>
    <dgm:cxn modelId="{AF5FC158-6E44-4F02-9F82-81E405798FEF}" type="presOf" srcId="{50303AD9-76D4-40F1-92FB-4C94EF15F74F}" destId="{498E8B4B-112E-4C48-AA0C-0A93AF64DB86}" srcOrd="0" destOrd="0" presId="urn:microsoft.com/office/officeart/2005/8/layout/architecture"/>
    <dgm:cxn modelId="{2818C379-7C87-45D2-9E57-4DB47E6F3A82}" srcId="{0A35EC5D-D336-45D6-A0E1-917796CAB019}" destId="{5E3D20EF-A1D9-4622-A6A1-C9B5FF2BD515}" srcOrd="0" destOrd="0" parTransId="{BE858912-A960-4335-A357-564D6C2FFF93}" sibTransId="{052EC144-DEF2-450B-891C-60255130464E}"/>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238DB292-2FA7-4C9E-898D-699C4DA348E6}" srcId="{5E3D20EF-A1D9-4622-A6A1-C9B5FF2BD515}" destId="{9EE83E31-5552-4C14-AD4F-4C5194C3A1AC}" srcOrd="0" destOrd="0" parTransId="{7E31DAD7-241E-4BDB-8302-CF1A8EBE7E68}" sibTransId="{FA0D0F67-0AF3-4538-9748-A7D19795C1AB}"/>
    <dgm:cxn modelId="{F49BED94-B506-4FD4-936C-1485805F01F8}" srcId="{2D06292C-4259-4828-B1CA-9047FC051FD0}" destId="{C1F60B1D-6A4C-49B5-9FE5-8E6C988E08D7}" srcOrd="0" destOrd="0" parTransId="{E2D6200B-497F-46B1-8901-C41E7A0EFA22}" sibTransId="{5F673325-14AA-43D7-A981-0B643FF03EE2}"/>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48C58FB4-23FD-49D1-BB63-5051BCFC6EA9}" srcId="{3E657125-A671-4F7C-A57A-6B6BFEA768C1}" destId="{476B8C27-D82A-411D-887B-A5D10CB84E15}" srcOrd="0" destOrd="0" parTransId="{9903C43E-7819-45CF-9702-2FB1088E4161}" sibTransId="{59C0576A-11D9-4E83-A282-4FAF007E90B9}"/>
    <dgm:cxn modelId="{3A2664C5-6103-48DB-B194-AF392537F8DE}" srcId="{F614F0E6-CE19-4869-88FD-8A64D693C282}" destId="{3E657125-A671-4F7C-A57A-6B6BFEA768C1}" srcOrd="0" destOrd="0" parTransId="{AA83FE5B-80E3-43ED-B261-45335B83A457}" sibTransId="{09070EA6-6A1A-42AE-8AC3-4685452570EA}"/>
    <dgm:cxn modelId="{CAF31FDA-8AD2-4DC3-8406-B90937F4A6B1}" type="presOf" srcId="{50787CEA-7436-4E60-8212-873ED94AA65A}" destId="{C4240A56-C612-41E9-9D0B-9A6B282BA87E}" srcOrd="0" destOrd="0" presId="urn:microsoft.com/office/officeart/2005/8/layout/architecture"/>
    <dgm:cxn modelId="{B83F99DC-3667-43AB-96B4-CDA6CACA132A}" type="presOf" srcId="{9EE83E31-5552-4C14-AD4F-4C5194C3A1AC}" destId="{37EEE7E1-BA9A-46A3-B460-2D20AFBC73B9}"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5067AEF1-16EA-45C9-B7AA-3B1DC33381DE}" type="presOf" srcId="{3E657125-A671-4F7C-A57A-6B6BFEA768C1}" destId="{26A87C7B-C01B-4F12-8FEB-CA6DD1935BC2}"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92207615-607A-41A4-95A2-FB4517B08B03}" type="presParOf" srcId="{A0D1BEC7-2160-4F2F-9FB3-153D79ABDD56}" destId="{CC9EED9B-BE3C-4011-8191-C6F57B88AA13}"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B4CCF0BD-F3E1-4706-9AEE-16F521313E6A}" type="presParOf" srcId="{834BEABC-571F-497A-8F1D-1DA0C88ACBD0}" destId="{757923D9-2EC0-40B6-B9D7-F17BC0A8DD29}" srcOrd="0" destOrd="0" presId="urn:microsoft.com/office/officeart/2005/8/layout/architecture"/>
    <dgm:cxn modelId="{61E2B7CC-B9C0-4D37-B3EF-221C0879AC0D}" type="presParOf" srcId="{757923D9-2EC0-40B6-B9D7-F17BC0A8DD29}" destId="{C920CEF5-6DDA-4154-BFEF-12EED1B18761}" srcOrd="0" destOrd="0" presId="urn:microsoft.com/office/officeart/2005/8/layout/architecture"/>
    <dgm:cxn modelId="{3E035790-EC80-44D5-B80F-7E225EF44914}" type="presParOf" srcId="{757923D9-2EC0-40B6-B9D7-F17BC0A8DD29}" destId="{193560A2-4A9D-4CAC-A68B-CA6A02E54C10}" srcOrd="1" destOrd="0" presId="urn:microsoft.com/office/officeart/2005/8/layout/architecture"/>
    <dgm:cxn modelId="{864E3997-1ACC-4D11-A300-654BCD6785D2}" type="presParOf" srcId="{11B1C312-A86A-470B-876F-11FCC3CE8ECF}" destId="{40663D6C-8364-4056-A47F-F3169560D2E3}" srcOrd="1" destOrd="0" presId="urn:microsoft.com/office/officeart/2005/8/layout/architecture"/>
    <dgm:cxn modelId="{7BF12339-BF35-481F-B7D5-68E63BF19B34}" type="presParOf" srcId="{11B1C312-A86A-470B-876F-11FCC3CE8ECF}" destId="{21CF4778-5E84-4A85-8969-BACB2793E079}" srcOrd="2" destOrd="0" presId="urn:microsoft.com/office/officeart/2005/8/layout/architecture"/>
    <dgm:cxn modelId="{769DEBF4-E9DE-4FC4-87B6-37C5520627FF}" type="presParOf" srcId="{21CF4778-5E84-4A85-8969-BACB2793E079}" destId="{05C7A7C6-A8DF-4D56-A7EC-9B33AF937D98}" srcOrd="0" destOrd="0" presId="urn:microsoft.com/office/officeart/2005/8/layout/architecture"/>
    <dgm:cxn modelId="{A25E417A-3B78-42C2-9131-AF9B1C423D34}" type="presParOf" srcId="{21CF4778-5E84-4A85-8969-BACB2793E079}" destId="{78CDC9BF-E4A1-408C-94C2-296297166C54}" srcOrd="1" destOrd="0" presId="urn:microsoft.com/office/officeart/2005/8/layout/architecture"/>
    <dgm:cxn modelId="{757C7226-60D4-4735-9524-5C31388C2CD6}" type="presParOf" srcId="{21CF4778-5E84-4A85-8969-BACB2793E079}" destId="{5F8BBD7C-4C89-4811-A1F4-B7A9497E0809}" srcOrd="2" destOrd="0" presId="urn:microsoft.com/office/officeart/2005/8/layout/architecture"/>
    <dgm:cxn modelId="{C5D9953E-8AAB-4AA4-842B-42E2C4E1410A}" type="presParOf" srcId="{5F8BBD7C-4C89-4811-A1F4-B7A9497E0809}" destId="{E73BFF39-5160-4BAC-B7A9-1585760C903F}" srcOrd="0" destOrd="0" presId="urn:microsoft.com/office/officeart/2005/8/layout/architecture"/>
    <dgm:cxn modelId="{A78EE875-806E-4189-B5D9-96D3F2097EDD}" type="presParOf" srcId="{E73BFF39-5160-4BAC-B7A9-1585760C903F}" destId="{26A87C7B-C01B-4F12-8FEB-CA6DD1935BC2}" srcOrd="0" destOrd="0" presId="urn:microsoft.com/office/officeart/2005/8/layout/architecture"/>
    <dgm:cxn modelId="{8793461E-9EF0-4E64-9478-71637162C7A7}" type="presParOf" srcId="{E73BFF39-5160-4BAC-B7A9-1585760C903F}" destId="{B850C9C7-9722-4108-A4F3-545042FDAC76}" srcOrd="1" destOrd="0" presId="urn:microsoft.com/office/officeart/2005/8/layout/architecture"/>
    <dgm:cxn modelId="{865600D8-2407-4C08-A437-F95AD0A395E3}" type="presParOf" srcId="{E73BFF39-5160-4BAC-B7A9-1585760C903F}" destId="{E0EAADF9-7DE7-4106-818D-42BC50B73AAA}" srcOrd="2" destOrd="0" presId="urn:microsoft.com/office/officeart/2005/8/layout/architecture"/>
    <dgm:cxn modelId="{04619933-3A19-477F-B080-38D6627E1472}" type="presParOf" srcId="{E0EAADF9-7DE7-4106-818D-42BC50B73AAA}" destId="{CE19B5B3-4A20-4AA2-9F3E-5516B5D67491}" srcOrd="0" destOrd="0" presId="urn:microsoft.com/office/officeart/2005/8/layout/architecture"/>
    <dgm:cxn modelId="{22FCF181-8104-4D8F-BA44-DAEA86707C78}" type="presParOf" srcId="{CE19B5B3-4A20-4AA2-9F3E-5516B5D67491}" destId="{B3C0F0B6-427F-4365-883E-F44A7D418F93}" srcOrd="0" destOrd="0" presId="urn:microsoft.com/office/officeart/2005/8/layout/architecture"/>
    <dgm:cxn modelId="{EA61EAFC-659B-44A4-AC28-1FD3AF566C2C}" type="presParOf" srcId="{CE19B5B3-4A20-4AA2-9F3E-5516B5D67491}" destId="{1B994FA3-4D72-4555-A06E-DC48FD56B22D}"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99222726-36FF-40A7-817B-76F91A7B2715}" type="presParOf" srcId="{2BD03152-B2CC-478E-BF3C-0AE6B20789C2}" destId="{343533DD-743D-4C0B-9DD7-9C6B77F35B4B}"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A674156D-E3A6-4D0D-994D-01E9FB9D4084}" type="presParOf" srcId="{7A709EAB-AA2B-4472-BE7F-22688105E34D}" destId="{437FD263-5710-4AF9-BD0C-88915D74A1E8}" srcOrd="0" destOrd="0" presId="urn:microsoft.com/office/officeart/2005/8/layout/architecture"/>
    <dgm:cxn modelId="{48AAFBEC-3B74-4A43-A73F-47788FA15EE4}" type="presParOf" srcId="{437FD263-5710-4AF9-BD0C-88915D74A1E8}" destId="{5D5B6D22-EDCE-4EB7-9392-4FCACCA2DDBE}" srcOrd="0" destOrd="0" presId="urn:microsoft.com/office/officeart/2005/8/layout/architecture"/>
    <dgm:cxn modelId="{394ECA09-4C99-406A-80EC-95626FB86D92}" type="presParOf" srcId="{437FD263-5710-4AF9-BD0C-88915D74A1E8}" destId="{22C22058-1046-44AF-AD86-239DE8C4AC86}" srcOrd="1" destOrd="0" presId="urn:microsoft.com/office/officeart/2005/8/layout/architecture"/>
    <dgm:cxn modelId="{202406C5-5E5E-415F-829A-CB75F67D04A8}" type="presParOf" srcId="{437FD263-5710-4AF9-BD0C-88915D74A1E8}" destId="{F36087D5-FE8F-4098-998C-CAA17CC7F291}" srcOrd="2" destOrd="0" presId="urn:microsoft.com/office/officeart/2005/8/layout/architecture"/>
    <dgm:cxn modelId="{61CB16DC-9A78-435A-A471-A9CC2D1CAAB1}" type="presParOf" srcId="{F36087D5-FE8F-4098-998C-CAA17CC7F291}" destId="{A1CCAA3F-0167-49EC-B6AC-0A9BF52A48ED}" srcOrd="0" destOrd="0" presId="urn:microsoft.com/office/officeart/2005/8/layout/architecture"/>
    <dgm:cxn modelId="{32FA900C-66A0-423A-941A-F2385EA7A735}" type="presParOf" srcId="{A1CCAA3F-0167-49EC-B6AC-0A9BF52A48ED}" destId="{37EEE7E1-BA9A-46A3-B460-2D20AFBC73B9}" srcOrd="0" destOrd="0" presId="urn:microsoft.com/office/officeart/2005/8/layout/architecture"/>
    <dgm:cxn modelId="{8CFCD461-D206-469B-8B5F-6B434934D26C}" type="presParOf" srcId="{A1CCAA3F-0167-49EC-B6AC-0A9BF52A48ED}" destId="{6F8B00CD-CB4B-4E8A-815B-42E8F9EAA2F0}" srcOrd="1" destOrd="0" presId="urn:microsoft.com/office/officeart/2005/8/layout/architecture"/>
    <dgm:cxn modelId="{8C1B7441-B7E4-4BA6-9C0C-91A020E1C21C}" type="presParOf" srcId="{A1CCAA3F-0167-49EC-B6AC-0A9BF52A48ED}" destId="{671976CC-B093-4477-8520-AEED9E090075}" srcOrd="2" destOrd="0" presId="urn:microsoft.com/office/officeart/2005/8/layout/architecture"/>
    <dgm:cxn modelId="{B5080603-B89A-47CF-8981-B0F8D26240A3}" type="presParOf" srcId="{671976CC-B093-4477-8520-AEED9E090075}" destId="{F8945EA4-B54B-468A-B63E-45840BD57556}" srcOrd="0" destOrd="0" presId="urn:microsoft.com/office/officeart/2005/8/layout/architecture"/>
    <dgm:cxn modelId="{82091C76-DA36-4273-BE0E-D86A46BA24A3}" type="presParOf" srcId="{F8945EA4-B54B-468A-B63E-45840BD57556}" destId="{498E8B4B-112E-4C48-AA0C-0A93AF64DB86}" srcOrd="0" destOrd="0" presId="urn:microsoft.com/office/officeart/2005/8/layout/architecture"/>
    <dgm:cxn modelId="{57C976CB-F537-453A-B5F1-2F8380F9E717}" type="presParOf" srcId="{F8945EA4-B54B-468A-B63E-45840BD57556}" destId="{4E487C47-E5F7-44ED-94A7-F8798CEF5A4C}" srcOrd="1" destOrd="0" presId="urn:microsoft.com/office/officeart/2005/8/layout/architecture"/>
    <dgm:cxn modelId="{9D8D6424-35B4-4DD8-BACD-BA3A4016DBE4}" type="presParOf" srcId="{671976CC-B093-4477-8520-AEED9E090075}" destId="{C5FFAAD3-2047-40B9-81F1-61432167AC62}" srcOrd="1" destOrd="0" presId="urn:microsoft.com/office/officeart/2005/8/layout/architecture"/>
    <dgm:cxn modelId="{08EE5892-E962-42DB-BAD6-6D3149C8A365}" type="presParOf" srcId="{671976CC-B093-4477-8520-AEED9E090075}" destId="{8106F50D-9E6A-4297-99AD-24E45ED931EC}" srcOrd="2" destOrd="0" presId="urn:microsoft.com/office/officeart/2005/8/layout/architecture"/>
    <dgm:cxn modelId="{0D0378CA-5ABB-425D-A550-93120A4CA0C7}" type="presParOf" srcId="{8106F50D-9E6A-4297-99AD-24E45ED931EC}" destId="{EF3E5C27-2AED-4300-BC42-6B0E04D86765}" srcOrd="0" destOrd="0" presId="urn:microsoft.com/office/officeart/2005/8/layout/architecture"/>
    <dgm:cxn modelId="{F2E394FE-D0D1-4DFF-9F44-CD1960E8276E}" type="presParOf" srcId="{8106F50D-9E6A-4297-99AD-24E45ED931EC}" destId="{E572E428-4BAA-40B8-899E-926D8205C6D8}" srcOrd="1" destOrd="0" presId="urn:microsoft.com/office/officeart/2005/8/layout/architecture"/>
    <dgm:cxn modelId="{7409D636-398C-42FE-8762-4490B3238B3F}" type="presParOf" srcId="{7A709EAB-AA2B-4472-BE7F-22688105E34D}" destId="{A6F439B6-F38F-4E4B-8876-B2C2D4438EF3}" srcOrd="1" destOrd="0" presId="urn:microsoft.com/office/officeart/2005/8/layout/architecture"/>
    <dgm:cxn modelId="{153A4AA8-342D-42AF-A665-A03ADD90CEAD}" type="presParOf" srcId="{7A709EAB-AA2B-4472-BE7F-22688105E34D}" destId="{03BC0D2D-BCFF-43FD-B842-9A535026D76D}" srcOrd="2" destOrd="0" presId="urn:microsoft.com/office/officeart/2005/8/layout/architecture"/>
    <dgm:cxn modelId="{4CD2361A-58DF-447D-982E-07AF3F187EFD}" type="presParOf" srcId="{03BC0D2D-BCFF-43FD-B842-9A535026D76D}" destId="{1FCEF47A-5290-466B-8FBA-055D887A939A}" srcOrd="0" destOrd="0" presId="urn:microsoft.com/office/officeart/2005/8/layout/architecture"/>
    <dgm:cxn modelId="{84A27BE6-3BD6-4BC4-A4E9-38C13E05D41E}" type="presParOf" srcId="{03BC0D2D-BCFF-43FD-B842-9A535026D76D}" destId="{A5B040D4-214E-482E-845E-E8B3A0BB4B48}" srcOrd="1" destOrd="0" presId="urn:microsoft.com/office/officeart/2005/8/layout/architecture"/>
    <dgm:cxn modelId="{FEA2560A-E16C-46A7-B6A0-222AA88253EC}" type="presParOf" srcId="{03BC0D2D-BCFF-43FD-B842-9A535026D76D}" destId="{95FBCC70-D96D-4D3C-AF2C-BC6BDC0DB326}" srcOrd="2" destOrd="0" presId="urn:microsoft.com/office/officeart/2005/8/layout/architecture"/>
    <dgm:cxn modelId="{6C2AA08C-9480-4E64-8199-195C43B12B0E}" type="presParOf" srcId="{95FBCC70-D96D-4D3C-AF2C-BC6BDC0DB326}" destId="{A6295AAE-7F95-498F-AE88-F18965CFC468}" srcOrd="0" destOrd="0" presId="urn:microsoft.com/office/officeart/2005/8/layout/architecture"/>
    <dgm:cxn modelId="{241A0393-ADD3-4172-B65D-FB0E54ED37E8}" type="presParOf" srcId="{A6295AAE-7F95-498F-AE88-F18965CFC468}" destId="{506BE77E-9718-4F22-9258-BF56BABF942B}" srcOrd="0" destOrd="0" presId="urn:microsoft.com/office/officeart/2005/8/layout/architecture"/>
    <dgm:cxn modelId="{D70F47B4-CCAA-4229-8055-645AEB9D3221}"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69CA7D43-0655-46E4-85E3-920F91134A19}">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4F828E0D-8B6D-4D0F-A1BC-F52B7F49C3C7}" type="parTrans" cxnId="{FF21BE9C-F59F-4669-8D9A-770466AA8A6D}">
      <dgm:prSet/>
      <dgm:spPr/>
      <dgm:t>
        <a:bodyPr/>
        <a:lstStyle/>
        <a:p>
          <a:endParaRPr lang="vi-VN"/>
        </a:p>
      </dgm:t>
    </dgm:pt>
    <dgm:pt modelId="{BDE5242B-D786-4F54-B6FC-DF64C243625C}" type="sibTrans" cxnId="{FF21BE9C-F59F-4669-8D9A-770466AA8A6D}">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5">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5">
        <dgm:presLayoutVars>
          <dgm:chPref val="3"/>
        </dgm:presLayoutVars>
      </dgm:prSet>
      <dgm:spPr/>
    </dgm:pt>
    <dgm:pt modelId="{C217C386-5536-40AA-AEC9-6136DC51CA78}" type="pres">
      <dgm:prSet presAssocID="{2D06292C-4259-4828-B1CA-9047FC051FD0}" presName="parTransFour" presStyleCnt="0"/>
      <dgm:spPr/>
    </dgm:pt>
    <dgm:pt modelId="{834BEABC-571F-497A-8F1D-1DA0C88ACBD0}" type="pres">
      <dgm:prSet presAssocID="{2D06292C-4259-4828-B1CA-9047FC051FD0}" presName="horzFour" presStyleCnt="0"/>
      <dgm:spPr/>
    </dgm:pt>
    <dgm:pt modelId="{30DB97EA-2EFE-452F-B73D-CADAF50F2790}" type="pres">
      <dgm:prSet presAssocID="{69CA7D43-0655-46E4-85E3-920F91134A19}" presName="vertFour" presStyleCnt="0">
        <dgm:presLayoutVars>
          <dgm:chPref val="3"/>
        </dgm:presLayoutVars>
      </dgm:prSet>
      <dgm:spPr/>
    </dgm:pt>
    <dgm:pt modelId="{FAF92564-4B5A-4D43-A8D5-55FC8072E09C}" type="pres">
      <dgm:prSet presAssocID="{69CA7D43-0655-46E4-85E3-920F91134A19}" presName="txFour" presStyleLbl="node4" presStyleIdx="2" presStyleCnt="5">
        <dgm:presLayoutVars>
          <dgm:chPref val="3"/>
        </dgm:presLayoutVars>
      </dgm:prSet>
      <dgm:spPr/>
    </dgm:pt>
    <dgm:pt modelId="{1AF16230-AC4D-45A8-B8C1-216839542C58}" type="pres">
      <dgm:prSet presAssocID="{69CA7D43-0655-46E4-85E3-920F91134A19}"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984EDEF8-26E3-4917-B571-33E5D1BAD98F}"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3" presStyleCnt="5">
        <dgm:presLayoutVars>
          <dgm:chPref val="3"/>
        </dgm:presLayoutVars>
      </dgm:prSet>
      <dgm:spPr/>
    </dgm:pt>
    <dgm:pt modelId="{8DAFBE64-6BFD-491B-8F59-2D33DAB2D9F2}"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4" presStyleCnt="5">
        <dgm:presLayoutVars>
          <dgm:chPref val="3"/>
        </dgm:presLayoutVars>
      </dgm:prSet>
      <dgm:spPr/>
    </dgm:pt>
    <dgm:pt modelId="{8AA176B0-933C-47B7-BAE1-26E1D16A0899}" type="pres">
      <dgm:prSet presAssocID="{48E029B4-CCC2-409F-850C-59A32D69BF9A}" presName="horzFour" presStyleCnt="0"/>
      <dgm:spPr/>
    </dgm:pt>
  </dgm:ptLst>
  <dgm:cxnLst>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0" destOrd="0" parTransId="{361217A6-DCA0-45F8-8BC8-50DE0E01CA8B}" sibTransId="{83CE76D1-B1BD-49E3-A4A4-1982B033ADBF}"/>
    <dgm:cxn modelId="{C1AD9C25-2767-4773-BBA0-A24E4BCE6F9F}" srcId="{5CABFB2F-18BE-43F7-B34F-23989EC7D752}" destId="{50787CEA-7436-4E60-8212-873ED94AA65A}" srcOrd="0" destOrd="0" parTransId="{D60CEA22-052A-4CDD-9CE3-702F13D35AF6}" sibTransId="{096734E9-5C08-4FB4-B404-FA129DB6C042}"/>
    <dgm:cxn modelId="{D398653D-3A03-4FE2-B1E7-BA0F30ABFCB3}" srcId="{FF545D1D-B148-4301-B72A-ED72035562DA}" destId="{48E029B4-CCC2-409F-850C-59A32D69BF9A}" srcOrd="0" destOrd="0" parTransId="{FD67280A-8448-43FE-B044-31BB0A70211F}" sibTransId="{F2EE8EBF-4A87-426C-8326-D826A12858B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A8BB2371-5F93-4D4F-B7CA-4D7901FC4B75}" srcId="{50787CEA-7436-4E60-8212-873ED94AA65A}" destId="{7ECAC806-65D5-42B6-95F5-A272625E902E}" srcOrd="0" destOrd="0" parTransId="{B477479E-B2B8-4285-9E4A-170BF8178A56}" sibTransId="{28AB5868-0E10-4B23-8FD1-8BC2C07345BD}"/>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FF21BE9C-F59F-4669-8D9A-770466AA8A6D}" srcId="{2D06292C-4259-4828-B1CA-9047FC051FD0}" destId="{69CA7D43-0655-46E4-85E3-920F91134A19}" srcOrd="0" destOrd="0" parTransId="{4F828E0D-8B6D-4D0F-A1BC-F52B7F49C3C7}" sibTransId="{BDE5242B-D786-4F54-B6FC-DF64C243625C}"/>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D043DBC8-C87D-4A3A-906F-BC6F95657F7F}" type="presOf" srcId="{69CA7D43-0655-46E4-85E3-920F91134A19}" destId="{FAF92564-4B5A-4D43-A8D5-55FC8072E09C}" srcOrd="0" destOrd="0" presId="urn:microsoft.com/office/officeart/2005/8/layout/architecture"/>
    <dgm:cxn modelId="{CAF31FDA-8AD2-4DC3-8406-B90937F4A6B1}" type="presOf" srcId="{50787CEA-7436-4E60-8212-873ED94AA65A}" destId="{C4240A56-C612-41E9-9D0B-9A6B282BA87E}"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80039AE8-A57E-4658-BB8D-71E30972548C}" type="presOf" srcId="{48E029B4-CCC2-409F-850C-59A32D69BF9A}" destId="{506BE77E-9718-4F22-9258-BF56BABF942B}" srcOrd="0" destOrd="0" presId="urn:microsoft.com/office/officeart/2005/8/layout/architecture"/>
    <dgm:cxn modelId="{D1C122EC-99D1-4995-B0D6-6A5BB7FA75E4}" type="presOf" srcId="{FF545D1D-B148-4301-B72A-ED72035562DA}" destId="{1FCEF47A-5290-466B-8FBA-055D887A939A}"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8C040A11-C3F6-4258-9F61-112D639B153C}" type="presParOf" srcId="{A0D1BEC7-2160-4F2F-9FB3-153D79ABDD56}" destId="{C217C386-5536-40AA-AEC9-6136DC51CA78}"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0548696A-B55C-40B3-AE1B-F08CBA9FC6A0}" type="presParOf" srcId="{834BEABC-571F-497A-8F1D-1DA0C88ACBD0}" destId="{30DB97EA-2EFE-452F-B73D-CADAF50F2790}" srcOrd="0" destOrd="0" presId="urn:microsoft.com/office/officeart/2005/8/layout/architecture"/>
    <dgm:cxn modelId="{15154F96-D313-436A-B496-5D5B7E111828}" type="presParOf" srcId="{30DB97EA-2EFE-452F-B73D-CADAF50F2790}" destId="{FAF92564-4B5A-4D43-A8D5-55FC8072E09C}" srcOrd="0" destOrd="0" presId="urn:microsoft.com/office/officeart/2005/8/layout/architecture"/>
    <dgm:cxn modelId="{12E6BD56-095F-4844-AE50-8E6B4C38CB9C}" type="presParOf" srcId="{30DB97EA-2EFE-452F-B73D-CADAF50F2790}" destId="{1AF16230-AC4D-45A8-B8C1-216839542C58}"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C7331699-49BC-4F6A-A04B-542ECE001C99}" type="presParOf" srcId="{2BD03152-B2CC-478E-BF3C-0AE6B20789C2}" destId="{984EDEF8-26E3-4917-B571-33E5D1BAD98F}"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E6EC84C0-5813-4E85-BF49-21418820A4E4}" type="presParOf" srcId="{7A709EAB-AA2B-4472-BE7F-22688105E34D}" destId="{03BC0D2D-BCFF-43FD-B842-9A535026D76D}" srcOrd="0" destOrd="0" presId="urn:microsoft.com/office/officeart/2005/8/layout/architecture"/>
    <dgm:cxn modelId="{A9CA72CC-61D5-408F-BF8E-67AD19080685}" type="presParOf" srcId="{03BC0D2D-BCFF-43FD-B842-9A535026D76D}" destId="{1FCEF47A-5290-466B-8FBA-055D887A939A}" srcOrd="0" destOrd="0" presId="urn:microsoft.com/office/officeart/2005/8/layout/architecture"/>
    <dgm:cxn modelId="{3D30DB81-1C8D-419F-A764-33FA6DC76F2E}" type="presParOf" srcId="{03BC0D2D-BCFF-43FD-B842-9A535026D76D}" destId="{8DAFBE64-6BFD-491B-8F59-2D33DAB2D9F2}" srcOrd="1" destOrd="0" presId="urn:microsoft.com/office/officeart/2005/8/layout/architecture"/>
    <dgm:cxn modelId="{AA96DD69-80D6-41D0-8FD3-998C1DD2575E}" type="presParOf" srcId="{03BC0D2D-BCFF-43FD-B842-9A535026D76D}" destId="{95FBCC70-D96D-4D3C-AF2C-BC6BDC0DB326}" srcOrd="2" destOrd="0" presId="urn:microsoft.com/office/officeart/2005/8/layout/architecture"/>
    <dgm:cxn modelId="{F4C326F9-7457-4C0C-9FEE-DC158CBEDBFA}" type="presParOf" srcId="{95FBCC70-D96D-4D3C-AF2C-BC6BDC0DB326}" destId="{A6295AAE-7F95-498F-AE88-F18965CFC468}" srcOrd="0" destOrd="0" presId="urn:microsoft.com/office/officeart/2005/8/layout/architecture"/>
    <dgm:cxn modelId="{E763440E-4983-4BC5-8497-2FDE1F18E800}" type="presParOf" srcId="{A6295AAE-7F95-498F-AE88-F18965CFC468}" destId="{506BE77E-9718-4F22-9258-BF56BABF942B}" srcOrd="0" destOrd="0" presId="urn:microsoft.com/office/officeart/2005/8/layout/architecture"/>
    <dgm:cxn modelId="{FA23DEE2-A0C9-4455-B7B2-0D22C4FA4236}"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F614F0E6-CE19-4869-88FD-8A64D693C282}">
      <dgm:prSet/>
      <dgm:spPr/>
      <dgm:t>
        <a:bodyPr/>
        <a:lstStyle/>
        <a:p>
          <a:r>
            <a:rPr lang="en-US"/>
            <a:t>Manage activity</a:t>
          </a:r>
          <a:endParaRPr lang="vi-VN"/>
        </a:p>
      </dgm:t>
    </dgm:pt>
    <dgm:pt modelId="{1FFD6D64-3232-4A56-99E2-A8A312E21CDE}" type="parTrans" cxnId="{BCE57342-FBAD-492C-B2A6-3F176F90B581}">
      <dgm:prSet/>
      <dgm:spPr/>
      <dgm:t>
        <a:bodyPr/>
        <a:lstStyle/>
        <a:p>
          <a:endParaRPr lang="vi-VN"/>
        </a:p>
      </dgm:t>
    </dgm:pt>
    <dgm:pt modelId="{A2E9FA39-32CE-4CE3-B764-789AD892B40E}" type="sibTrans" cxnId="{BCE57342-FBAD-492C-B2A6-3F176F90B581}">
      <dgm:prSet/>
      <dgm:spPr/>
      <dgm:t>
        <a:bodyPr/>
        <a:lstStyle/>
        <a:p>
          <a:endParaRPr lang="vi-VN"/>
        </a:p>
      </dgm:t>
    </dgm:pt>
    <dgm:pt modelId="{3E657125-A671-4F7C-A57A-6B6BFEA768C1}">
      <dgm:prSet/>
      <dgm:spPr/>
      <dgm:t>
        <a:bodyPr/>
        <a:lstStyle/>
        <a:p>
          <a:r>
            <a:rPr lang="en-US"/>
            <a:t>View activity</a:t>
          </a:r>
          <a:endParaRPr lang="vi-VN"/>
        </a:p>
      </dgm:t>
    </dgm:pt>
    <dgm:pt modelId="{AA83FE5B-80E3-43ED-B261-45335B83A457}" type="parTrans" cxnId="{3A2664C5-6103-48DB-B194-AF392537F8DE}">
      <dgm:prSet/>
      <dgm:spPr/>
      <dgm:t>
        <a:bodyPr/>
        <a:lstStyle/>
        <a:p>
          <a:endParaRPr lang="vi-VN"/>
        </a:p>
      </dgm:t>
    </dgm:pt>
    <dgm:pt modelId="{09070EA6-6A1A-42AE-8AC3-4685452570EA}" type="sibTrans" cxnId="{3A2664C5-6103-48DB-B194-AF392537F8DE}">
      <dgm:prSet/>
      <dgm:spPr/>
      <dgm:t>
        <a:bodyPr/>
        <a:lstStyle/>
        <a:p>
          <a:endParaRPr lang="vi-VN"/>
        </a:p>
      </dgm:t>
    </dgm:pt>
    <dgm:pt modelId="{476B8C27-D82A-411D-887B-A5D10CB84E15}">
      <dgm:prSet/>
      <dgm:spPr/>
      <dgm:t>
        <a:bodyPr/>
        <a:lstStyle/>
        <a:p>
          <a:r>
            <a:rPr lang="en-US"/>
            <a:t>Update activity</a:t>
          </a:r>
          <a:endParaRPr lang="vi-VN"/>
        </a:p>
      </dgm:t>
    </dgm:pt>
    <dgm:pt modelId="{9903C43E-7819-45CF-9702-2FB1088E4161}" type="parTrans" cxnId="{48C58FB4-23FD-49D1-BB63-5051BCFC6EA9}">
      <dgm:prSet/>
      <dgm:spPr/>
      <dgm:t>
        <a:bodyPr/>
        <a:lstStyle/>
        <a:p>
          <a:endParaRPr lang="vi-VN"/>
        </a:p>
      </dgm:t>
    </dgm:pt>
    <dgm:pt modelId="{59C0576A-11D9-4E83-A282-4FAF007E90B9}" type="sibTrans" cxnId="{48C58FB4-23FD-49D1-BB63-5051BCFC6EA9}">
      <dgm:prSet/>
      <dgm:spPr/>
      <dgm:t>
        <a:bodyPr/>
        <a:lstStyle/>
        <a:p>
          <a:endParaRPr lang="vi-VN"/>
        </a:p>
      </dgm:t>
    </dgm:pt>
    <dgm:pt modelId="{5E3D20EF-A1D9-4622-A6A1-C9B5FF2BD515}">
      <dgm:prSet/>
      <dgm:spPr/>
      <dgm:t>
        <a:bodyPr/>
        <a:lstStyle/>
        <a:p>
          <a:r>
            <a:rPr lang="en-US"/>
            <a:t>List activity</a:t>
          </a:r>
          <a:endParaRPr lang="vi-VN"/>
        </a:p>
      </dgm:t>
    </dgm:pt>
    <dgm:pt modelId="{BE858912-A960-4335-A357-564D6C2FFF93}" type="parTrans" cxnId="{2818C379-7C87-45D2-9E57-4DB47E6F3A82}">
      <dgm:prSet/>
      <dgm:spPr/>
      <dgm:t>
        <a:bodyPr/>
        <a:lstStyle/>
        <a:p>
          <a:endParaRPr lang="vi-VN"/>
        </a:p>
      </dgm:t>
    </dgm:pt>
    <dgm:pt modelId="{052EC144-DEF2-450B-891C-60255130464E}" type="sibTrans" cxnId="{2818C379-7C87-45D2-9E57-4DB47E6F3A82}">
      <dgm:prSet/>
      <dgm:spPr/>
      <dgm:t>
        <a:bodyPr/>
        <a:lstStyle/>
        <a:p>
          <a:endParaRPr lang="vi-VN"/>
        </a:p>
      </dgm:t>
    </dgm:pt>
    <dgm:pt modelId="{9EE83E31-5552-4C14-AD4F-4C5194C3A1AC}">
      <dgm:prSet/>
      <dgm:spPr/>
      <dgm:t>
        <a:bodyPr/>
        <a:lstStyle/>
        <a:p>
          <a:r>
            <a:rPr lang="en-US"/>
            <a:t>View Activity</a:t>
          </a:r>
          <a:endParaRPr lang="vi-VN"/>
        </a:p>
      </dgm:t>
    </dgm:pt>
    <dgm:pt modelId="{7E31DAD7-241E-4BDB-8302-CF1A8EBE7E68}" type="parTrans" cxnId="{238DB292-2FA7-4C9E-898D-699C4DA348E6}">
      <dgm:prSet/>
      <dgm:spPr/>
      <dgm:t>
        <a:bodyPr/>
        <a:lstStyle/>
        <a:p>
          <a:endParaRPr lang="vi-VN"/>
        </a:p>
      </dgm:t>
    </dgm:pt>
    <dgm:pt modelId="{FA0D0F67-0AF3-4538-9748-A7D19795C1AB}" type="sibTrans" cxnId="{238DB292-2FA7-4C9E-898D-699C4DA348E6}">
      <dgm:prSet/>
      <dgm:spPr/>
      <dgm:t>
        <a:bodyPr/>
        <a:lstStyle/>
        <a:p>
          <a:endParaRPr lang="vi-VN"/>
        </a:p>
      </dgm:t>
    </dgm:pt>
    <dgm:pt modelId="{50303AD9-76D4-40F1-92FB-4C94EF15F74F}">
      <dgm:prSet/>
      <dgm:spPr/>
      <dgm:t>
        <a:bodyPr/>
        <a:lstStyle/>
        <a:p>
          <a:r>
            <a:rPr lang="en-US"/>
            <a:t>Sign up</a:t>
          </a:r>
          <a:endParaRPr lang="vi-VN"/>
        </a:p>
      </dgm:t>
    </dgm:pt>
    <dgm:pt modelId="{5B5BB7E4-4205-40AE-B561-5F7693918D75}" type="parTrans" cxnId="{F9068958-4C19-41FA-AF18-64520EE08676}">
      <dgm:prSet/>
      <dgm:spPr/>
      <dgm:t>
        <a:bodyPr/>
        <a:lstStyle/>
        <a:p>
          <a:endParaRPr lang="vi-VN"/>
        </a:p>
      </dgm:t>
    </dgm:pt>
    <dgm:pt modelId="{F35956C8-AD39-4B6A-B6DE-D4EEB67A1DC7}" type="sibTrans" cxnId="{F9068958-4C19-41FA-AF18-64520EE08676}">
      <dgm:prSet/>
      <dgm:spPr/>
      <dgm:t>
        <a:bodyPr/>
        <a:lstStyle/>
        <a:p>
          <a:endParaRPr lang="vi-VN"/>
        </a:p>
      </dgm:t>
    </dgm:pt>
    <dgm:pt modelId="{BF8A21FC-C2CD-4C25-9E92-FB50A7FF815B}">
      <dgm:prSet/>
      <dgm:spPr/>
      <dgm:t>
        <a:bodyPr/>
        <a:lstStyle/>
        <a:p>
          <a:r>
            <a:rPr lang="en-US"/>
            <a:t>Sign out</a:t>
          </a:r>
          <a:endParaRPr lang="vi-VN"/>
        </a:p>
      </dgm:t>
    </dgm:pt>
    <dgm:pt modelId="{5EA67257-49ED-463A-912C-43DC5FA729A3}" type="parTrans" cxnId="{AB9C351D-82D4-48EE-A4F9-C484142FF164}">
      <dgm:prSet/>
      <dgm:spPr/>
      <dgm:t>
        <a:bodyPr/>
        <a:lstStyle/>
        <a:p>
          <a:endParaRPr lang="vi-VN"/>
        </a:p>
      </dgm:t>
    </dgm:pt>
    <dgm:pt modelId="{2263153B-4B17-457B-8A6D-9E48B0F974DA}" type="sibTrans" cxnId="{AB9C351D-82D4-48EE-A4F9-C484142FF164}">
      <dgm:prSet/>
      <dgm:spPr/>
      <dgm:t>
        <a:bodyPr/>
        <a:lstStyle/>
        <a:p>
          <a:endParaRPr lang="vi-VN"/>
        </a:p>
      </dgm:t>
    </dgm:pt>
    <dgm:pt modelId="{C1F60B1D-6A4C-49B5-9FE5-8E6C988E08D7}">
      <dgm:prSet/>
      <dgm:spPr/>
      <dgm:t>
        <a:bodyPr/>
        <a:lstStyle/>
        <a:p>
          <a:r>
            <a:rPr lang="en-US"/>
            <a:t>Update user</a:t>
          </a:r>
          <a:endParaRPr lang="vi-VN"/>
        </a:p>
      </dgm:t>
    </dgm:pt>
    <dgm:pt modelId="{E2D6200B-497F-46B1-8901-C41E7A0EFA22}" type="parTrans" cxnId="{F49BED94-B506-4FD4-936C-1485805F01F8}">
      <dgm:prSet/>
      <dgm:spPr/>
      <dgm:t>
        <a:bodyPr/>
        <a:lstStyle/>
        <a:p>
          <a:endParaRPr lang="vi-VN"/>
        </a:p>
      </dgm:t>
    </dgm:pt>
    <dgm:pt modelId="{5F673325-14AA-43D7-A981-0B643FF03EE2}" type="sibTrans" cxnId="{F49BED94-B506-4FD4-936C-1485805F01F8}">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12">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12">
        <dgm:presLayoutVars>
          <dgm:chPref val="3"/>
        </dgm:presLayoutVars>
      </dgm:prSet>
      <dgm:spPr/>
    </dgm:pt>
    <dgm:pt modelId="{CC9EED9B-BE3C-4011-8191-C6F57B88AA13}" type="pres">
      <dgm:prSet presAssocID="{2D06292C-4259-4828-B1CA-9047FC051FD0}" presName="parTransFour" presStyleCnt="0"/>
      <dgm:spPr/>
    </dgm:pt>
    <dgm:pt modelId="{834BEABC-571F-497A-8F1D-1DA0C88ACBD0}" type="pres">
      <dgm:prSet presAssocID="{2D06292C-4259-4828-B1CA-9047FC051FD0}" presName="horzFour" presStyleCnt="0"/>
      <dgm:spPr/>
    </dgm:pt>
    <dgm:pt modelId="{757923D9-2EC0-40B6-B9D7-F17BC0A8DD29}" type="pres">
      <dgm:prSet presAssocID="{C1F60B1D-6A4C-49B5-9FE5-8E6C988E08D7}" presName="vertFour" presStyleCnt="0">
        <dgm:presLayoutVars>
          <dgm:chPref val="3"/>
        </dgm:presLayoutVars>
      </dgm:prSet>
      <dgm:spPr/>
    </dgm:pt>
    <dgm:pt modelId="{C920CEF5-6DDA-4154-BFEF-12EED1B18761}" type="pres">
      <dgm:prSet presAssocID="{C1F60B1D-6A4C-49B5-9FE5-8E6C988E08D7}" presName="txFour" presStyleLbl="node4" presStyleIdx="2" presStyleCnt="12">
        <dgm:presLayoutVars>
          <dgm:chPref val="3"/>
        </dgm:presLayoutVars>
      </dgm:prSet>
      <dgm:spPr/>
    </dgm:pt>
    <dgm:pt modelId="{193560A2-4A9D-4CAC-A68B-CA6A02E54C10}" type="pres">
      <dgm:prSet presAssocID="{C1F60B1D-6A4C-49B5-9FE5-8E6C988E08D7}" presName="horzFour" presStyleCnt="0"/>
      <dgm:spPr/>
    </dgm:pt>
    <dgm:pt modelId="{40663D6C-8364-4056-A47F-F3169560D2E3}" type="pres">
      <dgm:prSet presAssocID="{97883FFC-60D4-4BF0-B4FA-EB0ABE8EA0C3}" presName="sibSpaceFour" presStyleCnt="0"/>
      <dgm:spPr/>
    </dgm:pt>
    <dgm:pt modelId="{21CF4778-5E84-4A85-8969-BACB2793E079}" type="pres">
      <dgm:prSet presAssocID="{F614F0E6-CE19-4869-88FD-8A64D693C282}" presName="vertFour" presStyleCnt="0">
        <dgm:presLayoutVars>
          <dgm:chPref val="3"/>
        </dgm:presLayoutVars>
      </dgm:prSet>
      <dgm:spPr/>
    </dgm:pt>
    <dgm:pt modelId="{05C7A7C6-A8DF-4D56-A7EC-9B33AF937D98}" type="pres">
      <dgm:prSet presAssocID="{F614F0E6-CE19-4869-88FD-8A64D693C282}" presName="txFour" presStyleLbl="node4" presStyleIdx="3" presStyleCnt="12">
        <dgm:presLayoutVars>
          <dgm:chPref val="3"/>
        </dgm:presLayoutVars>
      </dgm:prSet>
      <dgm:spPr/>
    </dgm:pt>
    <dgm:pt modelId="{78CDC9BF-E4A1-408C-94C2-296297166C54}" type="pres">
      <dgm:prSet presAssocID="{F614F0E6-CE19-4869-88FD-8A64D693C282}" presName="parTransFour" presStyleCnt="0"/>
      <dgm:spPr/>
    </dgm:pt>
    <dgm:pt modelId="{5F8BBD7C-4C89-4811-A1F4-B7A9497E0809}" type="pres">
      <dgm:prSet presAssocID="{F614F0E6-CE19-4869-88FD-8A64D693C282}" presName="horzFour" presStyleCnt="0"/>
      <dgm:spPr/>
    </dgm:pt>
    <dgm:pt modelId="{E73BFF39-5160-4BAC-B7A9-1585760C903F}" type="pres">
      <dgm:prSet presAssocID="{3E657125-A671-4F7C-A57A-6B6BFEA768C1}" presName="vertFour" presStyleCnt="0">
        <dgm:presLayoutVars>
          <dgm:chPref val="3"/>
        </dgm:presLayoutVars>
      </dgm:prSet>
      <dgm:spPr/>
    </dgm:pt>
    <dgm:pt modelId="{26A87C7B-C01B-4F12-8FEB-CA6DD1935BC2}" type="pres">
      <dgm:prSet presAssocID="{3E657125-A671-4F7C-A57A-6B6BFEA768C1}" presName="txFour" presStyleLbl="node4" presStyleIdx="4" presStyleCnt="12">
        <dgm:presLayoutVars>
          <dgm:chPref val="3"/>
        </dgm:presLayoutVars>
      </dgm:prSet>
      <dgm:spPr/>
    </dgm:pt>
    <dgm:pt modelId="{B850C9C7-9722-4108-A4F3-545042FDAC76}" type="pres">
      <dgm:prSet presAssocID="{3E657125-A671-4F7C-A57A-6B6BFEA768C1}" presName="parTransFour" presStyleCnt="0"/>
      <dgm:spPr/>
    </dgm:pt>
    <dgm:pt modelId="{E0EAADF9-7DE7-4106-818D-42BC50B73AAA}" type="pres">
      <dgm:prSet presAssocID="{3E657125-A671-4F7C-A57A-6B6BFEA768C1}" presName="horzFour" presStyleCnt="0"/>
      <dgm:spPr/>
    </dgm:pt>
    <dgm:pt modelId="{CE19B5B3-4A20-4AA2-9F3E-5516B5D67491}" type="pres">
      <dgm:prSet presAssocID="{476B8C27-D82A-411D-887B-A5D10CB84E15}" presName="vertFour" presStyleCnt="0">
        <dgm:presLayoutVars>
          <dgm:chPref val="3"/>
        </dgm:presLayoutVars>
      </dgm:prSet>
      <dgm:spPr/>
    </dgm:pt>
    <dgm:pt modelId="{B3C0F0B6-427F-4365-883E-F44A7D418F93}" type="pres">
      <dgm:prSet presAssocID="{476B8C27-D82A-411D-887B-A5D10CB84E15}" presName="txFour" presStyleLbl="node4" presStyleIdx="5" presStyleCnt="12">
        <dgm:presLayoutVars>
          <dgm:chPref val="3"/>
        </dgm:presLayoutVars>
      </dgm:prSet>
      <dgm:spPr/>
    </dgm:pt>
    <dgm:pt modelId="{1B994FA3-4D72-4555-A06E-DC48FD56B22D}" type="pres">
      <dgm:prSet presAssocID="{476B8C27-D82A-411D-887B-A5D10CB84E15}"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343533DD-743D-4C0B-9DD7-9C6B77F35B4B}"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437FD263-5710-4AF9-BD0C-88915D74A1E8}" type="pres">
      <dgm:prSet presAssocID="{5E3D20EF-A1D9-4622-A6A1-C9B5FF2BD515}" presName="vertFour" presStyleCnt="0">
        <dgm:presLayoutVars>
          <dgm:chPref val="3"/>
        </dgm:presLayoutVars>
      </dgm:prSet>
      <dgm:spPr/>
    </dgm:pt>
    <dgm:pt modelId="{5D5B6D22-EDCE-4EB7-9392-4FCACCA2DDBE}" type="pres">
      <dgm:prSet presAssocID="{5E3D20EF-A1D9-4622-A6A1-C9B5FF2BD515}" presName="txFour" presStyleLbl="node4" presStyleIdx="6" presStyleCnt="12">
        <dgm:presLayoutVars>
          <dgm:chPref val="3"/>
        </dgm:presLayoutVars>
      </dgm:prSet>
      <dgm:spPr/>
    </dgm:pt>
    <dgm:pt modelId="{22C22058-1046-44AF-AD86-239DE8C4AC86}" type="pres">
      <dgm:prSet presAssocID="{5E3D20EF-A1D9-4622-A6A1-C9B5FF2BD515}" presName="parTransFour" presStyleCnt="0"/>
      <dgm:spPr/>
    </dgm:pt>
    <dgm:pt modelId="{F36087D5-FE8F-4098-998C-CAA17CC7F291}" type="pres">
      <dgm:prSet presAssocID="{5E3D20EF-A1D9-4622-A6A1-C9B5FF2BD515}" presName="horzFour" presStyleCnt="0"/>
      <dgm:spPr/>
    </dgm:pt>
    <dgm:pt modelId="{A1CCAA3F-0167-49EC-B6AC-0A9BF52A48ED}" type="pres">
      <dgm:prSet presAssocID="{9EE83E31-5552-4C14-AD4F-4C5194C3A1AC}" presName="vertFour" presStyleCnt="0">
        <dgm:presLayoutVars>
          <dgm:chPref val="3"/>
        </dgm:presLayoutVars>
      </dgm:prSet>
      <dgm:spPr/>
    </dgm:pt>
    <dgm:pt modelId="{37EEE7E1-BA9A-46A3-B460-2D20AFBC73B9}" type="pres">
      <dgm:prSet presAssocID="{9EE83E31-5552-4C14-AD4F-4C5194C3A1AC}" presName="txFour" presStyleLbl="node4" presStyleIdx="7" presStyleCnt="12">
        <dgm:presLayoutVars>
          <dgm:chPref val="3"/>
        </dgm:presLayoutVars>
      </dgm:prSet>
      <dgm:spPr/>
    </dgm:pt>
    <dgm:pt modelId="{6F8B00CD-CB4B-4E8A-815B-42E8F9EAA2F0}" type="pres">
      <dgm:prSet presAssocID="{9EE83E31-5552-4C14-AD4F-4C5194C3A1AC}" presName="parTransFour" presStyleCnt="0"/>
      <dgm:spPr/>
    </dgm:pt>
    <dgm:pt modelId="{671976CC-B093-4477-8520-AEED9E090075}" type="pres">
      <dgm:prSet presAssocID="{9EE83E31-5552-4C14-AD4F-4C5194C3A1AC}" presName="horzFour" presStyleCnt="0"/>
      <dgm:spPr/>
    </dgm:pt>
    <dgm:pt modelId="{F8945EA4-B54B-468A-B63E-45840BD57556}" type="pres">
      <dgm:prSet presAssocID="{50303AD9-76D4-40F1-92FB-4C94EF15F74F}" presName="vertFour" presStyleCnt="0">
        <dgm:presLayoutVars>
          <dgm:chPref val="3"/>
        </dgm:presLayoutVars>
      </dgm:prSet>
      <dgm:spPr/>
    </dgm:pt>
    <dgm:pt modelId="{498E8B4B-112E-4C48-AA0C-0A93AF64DB86}" type="pres">
      <dgm:prSet presAssocID="{50303AD9-76D4-40F1-92FB-4C94EF15F74F}" presName="txFour" presStyleLbl="node4" presStyleIdx="8" presStyleCnt="12">
        <dgm:presLayoutVars>
          <dgm:chPref val="3"/>
        </dgm:presLayoutVars>
      </dgm:prSet>
      <dgm:spPr/>
    </dgm:pt>
    <dgm:pt modelId="{4E487C47-E5F7-44ED-94A7-F8798CEF5A4C}" type="pres">
      <dgm:prSet presAssocID="{50303AD9-76D4-40F1-92FB-4C94EF15F74F}" presName="horzFour" presStyleCnt="0"/>
      <dgm:spPr/>
    </dgm:pt>
    <dgm:pt modelId="{C5FFAAD3-2047-40B9-81F1-61432167AC62}" type="pres">
      <dgm:prSet presAssocID="{F35956C8-AD39-4B6A-B6DE-D4EEB67A1DC7}" presName="sibSpaceFour" presStyleCnt="0"/>
      <dgm:spPr/>
    </dgm:pt>
    <dgm:pt modelId="{8106F50D-9E6A-4297-99AD-24E45ED931EC}" type="pres">
      <dgm:prSet presAssocID="{BF8A21FC-C2CD-4C25-9E92-FB50A7FF815B}" presName="vertFour" presStyleCnt="0">
        <dgm:presLayoutVars>
          <dgm:chPref val="3"/>
        </dgm:presLayoutVars>
      </dgm:prSet>
      <dgm:spPr/>
    </dgm:pt>
    <dgm:pt modelId="{EF3E5C27-2AED-4300-BC42-6B0E04D86765}" type="pres">
      <dgm:prSet presAssocID="{BF8A21FC-C2CD-4C25-9E92-FB50A7FF815B}" presName="txFour" presStyleLbl="node4" presStyleIdx="9" presStyleCnt="12">
        <dgm:presLayoutVars>
          <dgm:chPref val="3"/>
        </dgm:presLayoutVars>
      </dgm:prSet>
      <dgm:spPr/>
    </dgm:pt>
    <dgm:pt modelId="{E572E428-4BAA-40B8-899E-926D8205C6D8}" type="pres">
      <dgm:prSet presAssocID="{BF8A21FC-C2CD-4C25-9E92-FB50A7FF815B}" presName="horzFour" presStyleCnt="0"/>
      <dgm:spPr/>
    </dgm:pt>
    <dgm:pt modelId="{A6F439B6-F38F-4E4B-8876-B2C2D4438EF3}" type="pres">
      <dgm:prSet presAssocID="{052EC144-DEF2-450B-891C-60255130464E}" presName="sibSpaceFour"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10" presStyleCnt="12">
        <dgm:presLayoutVars>
          <dgm:chPref val="3"/>
        </dgm:presLayoutVars>
      </dgm:prSet>
      <dgm:spPr/>
    </dgm:pt>
    <dgm:pt modelId="{A5B040D4-214E-482E-845E-E8B3A0BB4B48}"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11" presStyleCnt="12">
        <dgm:presLayoutVars>
          <dgm:chPref val="3"/>
        </dgm:presLayoutVars>
      </dgm:prSet>
      <dgm:spPr/>
    </dgm:pt>
    <dgm:pt modelId="{8AA176B0-933C-47B7-BAE1-26E1D16A0899}" type="pres">
      <dgm:prSet presAssocID="{48E029B4-CCC2-409F-850C-59A32D69BF9A}" presName="horzFour" presStyleCnt="0"/>
      <dgm:spPr/>
    </dgm:pt>
  </dgm:ptLst>
  <dgm:cxnLst>
    <dgm:cxn modelId="{32573806-ECAE-4224-AFC3-AF5FF2E93D9C}" type="presOf" srcId="{48E029B4-CCC2-409F-850C-59A32D69BF9A}" destId="{506BE77E-9718-4F22-9258-BF56BABF942B}" srcOrd="0" destOrd="0" presId="urn:microsoft.com/office/officeart/2005/8/layout/architecture"/>
    <dgm:cxn modelId="{ACE5730A-6935-4210-A8CF-FFD7316E2E45}" type="presOf" srcId="{5E3D20EF-A1D9-4622-A6A1-C9B5FF2BD515}" destId="{5D5B6D22-EDCE-4EB7-9392-4FCACCA2DDBE}" srcOrd="0" destOrd="0" presId="urn:microsoft.com/office/officeart/2005/8/layout/architecture"/>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1" destOrd="0" parTransId="{361217A6-DCA0-45F8-8BC8-50DE0E01CA8B}" sibTransId="{83CE76D1-B1BD-49E3-A4A4-1982B033ADBF}"/>
    <dgm:cxn modelId="{AB9C351D-82D4-48EE-A4F9-C484142FF164}" srcId="{9EE83E31-5552-4C14-AD4F-4C5194C3A1AC}" destId="{BF8A21FC-C2CD-4C25-9E92-FB50A7FF815B}" srcOrd="1" destOrd="0" parTransId="{5EA67257-49ED-463A-912C-43DC5FA729A3}" sibTransId="{2263153B-4B17-457B-8A6D-9E48B0F974DA}"/>
    <dgm:cxn modelId="{A375BD1E-3069-40D2-9B88-E421D9FACE68}" type="presOf" srcId="{F614F0E6-CE19-4869-88FD-8A64D693C282}" destId="{05C7A7C6-A8DF-4D56-A7EC-9B33AF937D98}" srcOrd="0" destOrd="0" presId="urn:microsoft.com/office/officeart/2005/8/layout/architecture"/>
    <dgm:cxn modelId="{C1AD9C25-2767-4773-BBA0-A24E4BCE6F9F}" srcId="{5CABFB2F-18BE-43F7-B34F-23989EC7D752}" destId="{50787CEA-7436-4E60-8212-873ED94AA65A}" srcOrd="0" destOrd="0" parTransId="{D60CEA22-052A-4CDD-9CE3-702F13D35AF6}" sibTransId="{096734E9-5C08-4FB4-B404-FA129DB6C042}"/>
    <dgm:cxn modelId="{30E1E228-434F-434E-8D9A-9EAB439F9E5E}" type="presOf" srcId="{476B8C27-D82A-411D-887B-A5D10CB84E15}" destId="{B3C0F0B6-427F-4365-883E-F44A7D418F93}" srcOrd="0" destOrd="0" presId="urn:microsoft.com/office/officeart/2005/8/layout/architecture"/>
    <dgm:cxn modelId="{C036F02F-FBB5-491C-85E6-343A3275A73D}" type="presOf" srcId="{C1F60B1D-6A4C-49B5-9FE5-8E6C988E08D7}" destId="{C920CEF5-6DDA-4154-BFEF-12EED1B18761}" srcOrd="0" destOrd="0" presId="urn:microsoft.com/office/officeart/2005/8/layout/architecture"/>
    <dgm:cxn modelId="{D398653D-3A03-4FE2-B1E7-BA0F30ABFCB3}" srcId="{FF545D1D-B148-4301-B72A-ED72035562DA}" destId="{48E029B4-CCC2-409F-850C-59A32D69BF9A}" srcOrd="0" destOrd="0" parTransId="{FD67280A-8448-43FE-B044-31BB0A70211F}" sibTransId="{F2EE8EBF-4A87-426C-8326-D826A12858BE}"/>
    <dgm:cxn modelId="{BCE57342-FBAD-492C-B2A6-3F176F90B581}" srcId="{7ECAC806-65D5-42B6-95F5-A272625E902E}" destId="{F614F0E6-CE19-4869-88FD-8A64D693C282}" srcOrd="1" destOrd="0" parTransId="{1FFD6D64-3232-4A56-99E2-A8A312E21CDE}" sibTransId="{A2E9FA39-32CE-4CE3-B764-789AD892B40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C081566A-DED9-4E00-BC81-D80962FECBE5}" type="presOf" srcId="{FF545D1D-B148-4301-B72A-ED72035562DA}" destId="{1FCEF47A-5290-466B-8FBA-055D887A939A}" srcOrd="0" destOrd="0" presId="urn:microsoft.com/office/officeart/2005/8/layout/architecture"/>
    <dgm:cxn modelId="{A8BB2371-5F93-4D4F-B7CA-4D7901FC4B75}" srcId="{50787CEA-7436-4E60-8212-873ED94AA65A}" destId="{7ECAC806-65D5-42B6-95F5-A272625E902E}" srcOrd="0" destOrd="0" parTransId="{B477479E-B2B8-4285-9E4A-170BF8178A56}" sibTransId="{28AB5868-0E10-4B23-8FD1-8BC2C07345BD}"/>
    <dgm:cxn modelId="{471A4754-FEDB-4ED1-8B57-7ADA9F6D9D7C}" type="presOf" srcId="{BF8A21FC-C2CD-4C25-9E92-FB50A7FF815B}" destId="{EF3E5C27-2AED-4300-BC42-6B0E04D86765}" srcOrd="0" destOrd="0" presId="urn:microsoft.com/office/officeart/2005/8/layout/architecture"/>
    <dgm:cxn modelId="{F9068958-4C19-41FA-AF18-64520EE08676}" srcId="{9EE83E31-5552-4C14-AD4F-4C5194C3A1AC}" destId="{50303AD9-76D4-40F1-92FB-4C94EF15F74F}" srcOrd="0" destOrd="0" parTransId="{5B5BB7E4-4205-40AE-B561-5F7693918D75}" sibTransId="{F35956C8-AD39-4B6A-B6DE-D4EEB67A1DC7}"/>
    <dgm:cxn modelId="{AF5FC158-6E44-4F02-9F82-81E405798FEF}" type="presOf" srcId="{50303AD9-76D4-40F1-92FB-4C94EF15F74F}" destId="{498E8B4B-112E-4C48-AA0C-0A93AF64DB86}" srcOrd="0" destOrd="0" presId="urn:microsoft.com/office/officeart/2005/8/layout/architecture"/>
    <dgm:cxn modelId="{2818C379-7C87-45D2-9E57-4DB47E6F3A82}" srcId="{0A35EC5D-D336-45D6-A0E1-917796CAB019}" destId="{5E3D20EF-A1D9-4622-A6A1-C9B5FF2BD515}" srcOrd="0" destOrd="0" parTransId="{BE858912-A960-4335-A357-564D6C2FFF93}" sibTransId="{052EC144-DEF2-450B-891C-60255130464E}"/>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238DB292-2FA7-4C9E-898D-699C4DA348E6}" srcId="{5E3D20EF-A1D9-4622-A6A1-C9B5FF2BD515}" destId="{9EE83E31-5552-4C14-AD4F-4C5194C3A1AC}" srcOrd="0" destOrd="0" parTransId="{7E31DAD7-241E-4BDB-8302-CF1A8EBE7E68}" sibTransId="{FA0D0F67-0AF3-4538-9748-A7D19795C1AB}"/>
    <dgm:cxn modelId="{F49BED94-B506-4FD4-936C-1485805F01F8}" srcId="{2D06292C-4259-4828-B1CA-9047FC051FD0}" destId="{C1F60B1D-6A4C-49B5-9FE5-8E6C988E08D7}" srcOrd="0" destOrd="0" parTransId="{E2D6200B-497F-46B1-8901-C41E7A0EFA22}" sibTransId="{5F673325-14AA-43D7-A981-0B643FF03EE2}"/>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48C58FB4-23FD-49D1-BB63-5051BCFC6EA9}" srcId="{3E657125-A671-4F7C-A57A-6B6BFEA768C1}" destId="{476B8C27-D82A-411D-887B-A5D10CB84E15}" srcOrd="0" destOrd="0" parTransId="{9903C43E-7819-45CF-9702-2FB1088E4161}" sibTransId="{59C0576A-11D9-4E83-A282-4FAF007E90B9}"/>
    <dgm:cxn modelId="{3A2664C5-6103-48DB-B194-AF392537F8DE}" srcId="{F614F0E6-CE19-4869-88FD-8A64D693C282}" destId="{3E657125-A671-4F7C-A57A-6B6BFEA768C1}" srcOrd="0" destOrd="0" parTransId="{AA83FE5B-80E3-43ED-B261-45335B83A457}" sibTransId="{09070EA6-6A1A-42AE-8AC3-4685452570EA}"/>
    <dgm:cxn modelId="{CAF31FDA-8AD2-4DC3-8406-B90937F4A6B1}" type="presOf" srcId="{50787CEA-7436-4E60-8212-873ED94AA65A}" destId="{C4240A56-C612-41E9-9D0B-9A6B282BA87E}" srcOrd="0" destOrd="0" presId="urn:microsoft.com/office/officeart/2005/8/layout/architecture"/>
    <dgm:cxn modelId="{B83F99DC-3667-43AB-96B4-CDA6CACA132A}" type="presOf" srcId="{9EE83E31-5552-4C14-AD4F-4C5194C3A1AC}" destId="{37EEE7E1-BA9A-46A3-B460-2D20AFBC73B9}"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5067AEF1-16EA-45C9-B7AA-3B1DC33381DE}" type="presOf" srcId="{3E657125-A671-4F7C-A57A-6B6BFEA768C1}" destId="{26A87C7B-C01B-4F12-8FEB-CA6DD1935BC2}"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92207615-607A-41A4-95A2-FB4517B08B03}" type="presParOf" srcId="{A0D1BEC7-2160-4F2F-9FB3-153D79ABDD56}" destId="{CC9EED9B-BE3C-4011-8191-C6F57B88AA13}"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B4CCF0BD-F3E1-4706-9AEE-16F521313E6A}" type="presParOf" srcId="{834BEABC-571F-497A-8F1D-1DA0C88ACBD0}" destId="{757923D9-2EC0-40B6-B9D7-F17BC0A8DD29}" srcOrd="0" destOrd="0" presId="urn:microsoft.com/office/officeart/2005/8/layout/architecture"/>
    <dgm:cxn modelId="{61E2B7CC-B9C0-4D37-B3EF-221C0879AC0D}" type="presParOf" srcId="{757923D9-2EC0-40B6-B9D7-F17BC0A8DD29}" destId="{C920CEF5-6DDA-4154-BFEF-12EED1B18761}" srcOrd="0" destOrd="0" presId="urn:microsoft.com/office/officeart/2005/8/layout/architecture"/>
    <dgm:cxn modelId="{3E035790-EC80-44D5-B80F-7E225EF44914}" type="presParOf" srcId="{757923D9-2EC0-40B6-B9D7-F17BC0A8DD29}" destId="{193560A2-4A9D-4CAC-A68B-CA6A02E54C10}" srcOrd="1" destOrd="0" presId="urn:microsoft.com/office/officeart/2005/8/layout/architecture"/>
    <dgm:cxn modelId="{864E3997-1ACC-4D11-A300-654BCD6785D2}" type="presParOf" srcId="{11B1C312-A86A-470B-876F-11FCC3CE8ECF}" destId="{40663D6C-8364-4056-A47F-F3169560D2E3}" srcOrd="1" destOrd="0" presId="urn:microsoft.com/office/officeart/2005/8/layout/architecture"/>
    <dgm:cxn modelId="{7BF12339-BF35-481F-B7D5-68E63BF19B34}" type="presParOf" srcId="{11B1C312-A86A-470B-876F-11FCC3CE8ECF}" destId="{21CF4778-5E84-4A85-8969-BACB2793E079}" srcOrd="2" destOrd="0" presId="urn:microsoft.com/office/officeart/2005/8/layout/architecture"/>
    <dgm:cxn modelId="{769DEBF4-E9DE-4FC4-87B6-37C5520627FF}" type="presParOf" srcId="{21CF4778-5E84-4A85-8969-BACB2793E079}" destId="{05C7A7C6-A8DF-4D56-A7EC-9B33AF937D98}" srcOrd="0" destOrd="0" presId="urn:microsoft.com/office/officeart/2005/8/layout/architecture"/>
    <dgm:cxn modelId="{A25E417A-3B78-42C2-9131-AF9B1C423D34}" type="presParOf" srcId="{21CF4778-5E84-4A85-8969-BACB2793E079}" destId="{78CDC9BF-E4A1-408C-94C2-296297166C54}" srcOrd="1" destOrd="0" presId="urn:microsoft.com/office/officeart/2005/8/layout/architecture"/>
    <dgm:cxn modelId="{757C7226-60D4-4735-9524-5C31388C2CD6}" type="presParOf" srcId="{21CF4778-5E84-4A85-8969-BACB2793E079}" destId="{5F8BBD7C-4C89-4811-A1F4-B7A9497E0809}" srcOrd="2" destOrd="0" presId="urn:microsoft.com/office/officeart/2005/8/layout/architecture"/>
    <dgm:cxn modelId="{C5D9953E-8AAB-4AA4-842B-42E2C4E1410A}" type="presParOf" srcId="{5F8BBD7C-4C89-4811-A1F4-B7A9497E0809}" destId="{E73BFF39-5160-4BAC-B7A9-1585760C903F}" srcOrd="0" destOrd="0" presId="urn:microsoft.com/office/officeart/2005/8/layout/architecture"/>
    <dgm:cxn modelId="{A78EE875-806E-4189-B5D9-96D3F2097EDD}" type="presParOf" srcId="{E73BFF39-5160-4BAC-B7A9-1585760C903F}" destId="{26A87C7B-C01B-4F12-8FEB-CA6DD1935BC2}" srcOrd="0" destOrd="0" presId="urn:microsoft.com/office/officeart/2005/8/layout/architecture"/>
    <dgm:cxn modelId="{8793461E-9EF0-4E64-9478-71637162C7A7}" type="presParOf" srcId="{E73BFF39-5160-4BAC-B7A9-1585760C903F}" destId="{B850C9C7-9722-4108-A4F3-545042FDAC76}" srcOrd="1" destOrd="0" presId="urn:microsoft.com/office/officeart/2005/8/layout/architecture"/>
    <dgm:cxn modelId="{865600D8-2407-4C08-A437-F95AD0A395E3}" type="presParOf" srcId="{E73BFF39-5160-4BAC-B7A9-1585760C903F}" destId="{E0EAADF9-7DE7-4106-818D-42BC50B73AAA}" srcOrd="2" destOrd="0" presId="urn:microsoft.com/office/officeart/2005/8/layout/architecture"/>
    <dgm:cxn modelId="{04619933-3A19-477F-B080-38D6627E1472}" type="presParOf" srcId="{E0EAADF9-7DE7-4106-818D-42BC50B73AAA}" destId="{CE19B5B3-4A20-4AA2-9F3E-5516B5D67491}" srcOrd="0" destOrd="0" presId="urn:microsoft.com/office/officeart/2005/8/layout/architecture"/>
    <dgm:cxn modelId="{22FCF181-8104-4D8F-BA44-DAEA86707C78}" type="presParOf" srcId="{CE19B5B3-4A20-4AA2-9F3E-5516B5D67491}" destId="{B3C0F0B6-427F-4365-883E-F44A7D418F93}" srcOrd="0" destOrd="0" presId="urn:microsoft.com/office/officeart/2005/8/layout/architecture"/>
    <dgm:cxn modelId="{EA61EAFC-659B-44A4-AC28-1FD3AF566C2C}" type="presParOf" srcId="{CE19B5B3-4A20-4AA2-9F3E-5516B5D67491}" destId="{1B994FA3-4D72-4555-A06E-DC48FD56B22D}"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99222726-36FF-40A7-817B-76F91A7B2715}" type="presParOf" srcId="{2BD03152-B2CC-478E-BF3C-0AE6B20789C2}" destId="{343533DD-743D-4C0B-9DD7-9C6B77F35B4B}"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A674156D-E3A6-4D0D-994D-01E9FB9D4084}" type="presParOf" srcId="{7A709EAB-AA2B-4472-BE7F-22688105E34D}" destId="{437FD263-5710-4AF9-BD0C-88915D74A1E8}" srcOrd="0" destOrd="0" presId="urn:microsoft.com/office/officeart/2005/8/layout/architecture"/>
    <dgm:cxn modelId="{48AAFBEC-3B74-4A43-A73F-47788FA15EE4}" type="presParOf" srcId="{437FD263-5710-4AF9-BD0C-88915D74A1E8}" destId="{5D5B6D22-EDCE-4EB7-9392-4FCACCA2DDBE}" srcOrd="0" destOrd="0" presId="urn:microsoft.com/office/officeart/2005/8/layout/architecture"/>
    <dgm:cxn modelId="{394ECA09-4C99-406A-80EC-95626FB86D92}" type="presParOf" srcId="{437FD263-5710-4AF9-BD0C-88915D74A1E8}" destId="{22C22058-1046-44AF-AD86-239DE8C4AC86}" srcOrd="1" destOrd="0" presId="urn:microsoft.com/office/officeart/2005/8/layout/architecture"/>
    <dgm:cxn modelId="{202406C5-5E5E-415F-829A-CB75F67D04A8}" type="presParOf" srcId="{437FD263-5710-4AF9-BD0C-88915D74A1E8}" destId="{F36087D5-FE8F-4098-998C-CAA17CC7F291}" srcOrd="2" destOrd="0" presId="urn:microsoft.com/office/officeart/2005/8/layout/architecture"/>
    <dgm:cxn modelId="{61CB16DC-9A78-435A-A471-A9CC2D1CAAB1}" type="presParOf" srcId="{F36087D5-FE8F-4098-998C-CAA17CC7F291}" destId="{A1CCAA3F-0167-49EC-B6AC-0A9BF52A48ED}" srcOrd="0" destOrd="0" presId="urn:microsoft.com/office/officeart/2005/8/layout/architecture"/>
    <dgm:cxn modelId="{32FA900C-66A0-423A-941A-F2385EA7A735}" type="presParOf" srcId="{A1CCAA3F-0167-49EC-B6AC-0A9BF52A48ED}" destId="{37EEE7E1-BA9A-46A3-B460-2D20AFBC73B9}" srcOrd="0" destOrd="0" presId="urn:microsoft.com/office/officeart/2005/8/layout/architecture"/>
    <dgm:cxn modelId="{8CFCD461-D206-469B-8B5F-6B434934D26C}" type="presParOf" srcId="{A1CCAA3F-0167-49EC-B6AC-0A9BF52A48ED}" destId="{6F8B00CD-CB4B-4E8A-815B-42E8F9EAA2F0}" srcOrd="1" destOrd="0" presId="urn:microsoft.com/office/officeart/2005/8/layout/architecture"/>
    <dgm:cxn modelId="{8C1B7441-B7E4-4BA6-9C0C-91A020E1C21C}" type="presParOf" srcId="{A1CCAA3F-0167-49EC-B6AC-0A9BF52A48ED}" destId="{671976CC-B093-4477-8520-AEED9E090075}" srcOrd="2" destOrd="0" presId="urn:microsoft.com/office/officeart/2005/8/layout/architecture"/>
    <dgm:cxn modelId="{B5080603-B89A-47CF-8981-B0F8D26240A3}" type="presParOf" srcId="{671976CC-B093-4477-8520-AEED9E090075}" destId="{F8945EA4-B54B-468A-B63E-45840BD57556}" srcOrd="0" destOrd="0" presId="urn:microsoft.com/office/officeart/2005/8/layout/architecture"/>
    <dgm:cxn modelId="{82091C76-DA36-4273-BE0E-D86A46BA24A3}" type="presParOf" srcId="{F8945EA4-B54B-468A-B63E-45840BD57556}" destId="{498E8B4B-112E-4C48-AA0C-0A93AF64DB86}" srcOrd="0" destOrd="0" presId="urn:microsoft.com/office/officeart/2005/8/layout/architecture"/>
    <dgm:cxn modelId="{57C976CB-F537-453A-B5F1-2F8380F9E717}" type="presParOf" srcId="{F8945EA4-B54B-468A-B63E-45840BD57556}" destId="{4E487C47-E5F7-44ED-94A7-F8798CEF5A4C}" srcOrd="1" destOrd="0" presId="urn:microsoft.com/office/officeart/2005/8/layout/architecture"/>
    <dgm:cxn modelId="{9D8D6424-35B4-4DD8-BACD-BA3A4016DBE4}" type="presParOf" srcId="{671976CC-B093-4477-8520-AEED9E090075}" destId="{C5FFAAD3-2047-40B9-81F1-61432167AC62}" srcOrd="1" destOrd="0" presId="urn:microsoft.com/office/officeart/2005/8/layout/architecture"/>
    <dgm:cxn modelId="{08EE5892-E962-42DB-BAD6-6D3149C8A365}" type="presParOf" srcId="{671976CC-B093-4477-8520-AEED9E090075}" destId="{8106F50D-9E6A-4297-99AD-24E45ED931EC}" srcOrd="2" destOrd="0" presId="urn:microsoft.com/office/officeart/2005/8/layout/architecture"/>
    <dgm:cxn modelId="{0D0378CA-5ABB-425D-A550-93120A4CA0C7}" type="presParOf" srcId="{8106F50D-9E6A-4297-99AD-24E45ED931EC}" destId="{EF3E5C27-2AED-4300-BC42-6B0E04D86765}" srcOrd="0" destOrd="0" presId="urn:microsoft.com/office/officeart/2005/8/layout/architecture"/>
    <dgm:cxn modelId="{F2E394FE-D0D1-4DFF-9F44-CD1960E8276E}" type="presParOf" srcId="{8106F50D-9E6A-4297-99AD-24E45ED931EC}" destId="{E572E428-4BAA-40B8-899E-926D8205C6D8}" srcOrd="1" destOrd="0" presId="urn:microsoft.com/office/officeart/2005/8/layout/architecture"/>
    <dgm:cxn modelId="{7409D636-398C-42FE-8762-4490B3238B3F}" type="presParOf" srcId="{7A709EAB-AA2B-4472-BE7F-22688105E34D}" destId="{A6F439B6-F38F-4E4B-8876-B2C2D4438EF3}" srcOrd="1" destOrd="0" presId="urn:microsoft.com/office/officeart/2005/8/layout/architecture"/>
    <dgm:cxn modelId="{153A4AA8-342D-42AF-A665-A03ADD90CEAD}" type="presParOf" srcId="{7A709EAB-AA2B-4472-BE7F-22688105E34D}" destId="{03BC0D2D-BCFF-43FD-B842-9A535026D76D}" srcOrd="2" destOrd="0" presId="urn:microsoft.com/office/officeart/2005/8/layout/architecture"/>
    <dgm:cxn modelId="{4CD2361A-58DF-447D-982E-07AF3F187EFD}" type="presParOf" srcId="{03BC0D2D-BCFF-43FD-B842-9A535026D76D}" destId="{1FCEF47A-5290-466B-8FBA-055D887A939A}" srcOrd="0" destOrd="0" presId="urn:microsoft.com/office/officeart/2005/8/layout/architecture"/>
    <dgm:cxn modelId="{84A27BE6-3BD6-4BC4-A4E9-38C13E05D41E}" type="presParOf" srcId="{03BC0D2D-BCFF-43FD-B842-9A535026D76D}" destId="{A5B040D4-214E-482E-845E-E8B3A0BB4B48}" srcOrd="1" destOrd="0" presId="urn:microsoft.com/office/officeart/2005/8/layout/architecture"/>
    <dgm:cxn modelId="{FEA2560A-E16C-46A7-B6A0-222AA88253EC}" type="presParOf" srcId="{03BC0D2D-BCFF-43FD-B842-9A535026D76D}" destId="{95FBCC70-D96D-4D3C-AF2C-BC6BDC0DB326}" srcOrd="2" destOrd="0" presId="urn:microsoft.com/office/officeart/2005/8/layout/architecture"/>
    <dgm:cxn modelId="{6C2AA08C-9480-4E64-8199-195C43B12B0E}" type="presParOf" srcId="{95FBCC70-D96D-4D3C-AF2C-BC6BDC0DB326}" destId="{A6295AAE-7F95-498F-AE88-F18965CFC468}" srcOrd="0" destOrd="0" presId="urn:microsoft.com/office/officeart/2005/8/layout/architecture"/>
    <dgm:cxn modelId="{241A0393-ADD3-4172-B65D-FB0E54ED37E8}" type="presParOf" srcId="{A6295AAE-7F95-498F-AE88-F18965CFC468}" destId="{506BE77E-9718-4F22-9258-BF56BABF942B}" srcOrd="0" destOrd="0" presId="urn:microsoft.com/office/officeart/2005/8/layout/architecture"/>
    <dgm:cxn modelId="{D70F47B4-CCAA-4229-8055-645AEB9D3221}"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F614F0E6-CE19-4869-88FD-8A64D693C282}">
      <dgm:prSet/>
      <dgm:spPr/>
      <dgm:t>
        <a:bodyPr/>
        <a:lstStyle/>
        <a:p>
          <a:r>
            <a:rPr lang="en-US"/>
            <a:t>Manage activity</a:t>
          </a:r>
          <a:endParaRPr lang="vi-VN"/>
        </a:p>
      </dgm:t>
    </dgm:pt>
    <dgm:pt modelId="{1FFD6D64-3232-4A56-99E2-A8A312E21CDE}" type="parTrans" cxnId="{BCE57342-FBAD-492C-B2A6-3F176F90B581}">
      <dgm:prSet/>
      <dgm:spPr/>
      <dgm:t>
        <a:bodyPr/>
        <a:lstStyle/>
        <a:p>
          <a:endParaRPr lang="vi-VN"/>
        </a:p>
      </dgm:t>
    </dgm:pt>
    <dgm:pt modelId="{A2E9FA39-32CE-4CE3-B764-789AD892B40E}" type="sibTrans" cxnId="{BCE57342-FBAD-492C-B2A6-3F176F90B581}">
      <dgm:prSet/>
      <dgm:spPr/>
      <dgm:t>
        <a:bodyPr/>
        <a:lstStyle/>
        <a:p>
          <a:endParaRPr lang="vi-VN"/>
        </a:p>
      </dgm:t>
    </dgm:pt>
    <dgm:pt modelId="{3E657125-A671-4F7C-A57A-6B6BFEA768C1}">
      <dgm:prSet/>
      <dgm:spPr/>
      <dgm:t>
        <a:bodyPr/>
        <a:lstStyle/>
        <a:p>
          <a:r>
            <a:rPr lang="en-US"/>
            <a:t>View activity</a:t>
          </a:r>
          <a:endParaRPr lang="vi-VN"/>
        </a:p>
      </dgm:t>
    </dgm:pt>
    <dgm:pt modelId="{AA83FE5B-80E3-43ED-B261-45335B83A457}" type="parTrans" cxnId="{3A2664C5-6103-48DB-B194-AF392537F8DE}">
      <dgm:prSet/>
      <dgm:spPr/>
      <dgm:t>
        <a:bodyPr/>
        <a:lstStyle/>
        <a:p>
          <a:endParaRPr lang="vi-VN"/>
        </a:p>
      </dgm:t>
    </dgm:pt>
    <dgm:pt modelId="{09070EA6-6A1A-42AE-8AC3-4685452570EA}" type="sibTrans" cxnId="{3A2664C5-6103-48DB-B194-AF392537F8DE}">
      <dgm:prSet/>
      <dgm:spPr/>
      <dgm:t>
        <a:bodyPr/>
        <a:lstStyle/>
        <a:p>
          <a:endParaRPr lang="vi-VN"/>
        </a:p>
      </dgm:t>
    </dgm:pt>
    <dgm:pt modelId="{476B8C27-D82A-411D-887B-A5D10CB84E15}">
      <dgm:prSet/>
      <dgm:spPr/>
      <dgm:t>
        <a:bodyPr/>
        <a:lstStyle/>
        <a:p>
          <a:r>
            <a:rPr lang="en-US"/>
            <a:t>Update activity</a:t>
          </a:r>
          <a:endParaRPr lang="vi-VN"/>
        </a:p>
      </dgm:t>
    </dgm:pt>
    <dgm:pt modelId="{9903C43E-7819-45CF-9702-2FB1088E4161}" type="parTrans" cxnId="{48C58FB4-23FD-49D1-BB63-5051BCFC6EA9}">
      <dgm:prSet/>
      <dgm:spPr/>
      <dgm:t>
        <a:bodyPr/>
        <a:lstStyle/>
        <a:p>
          <a:endParaRPr lang="vi-VN"/>
        </a:p>
      </dgm:t>
    </dgm:pt>
    <dgm:pt modelId="{59C0576A-11D9-4E83-A282-4FAF007E90B9}" type="sibTrans" cxnId="{48C58FB4-23FD-49D1-BB63-5051BCFC6EA9}">
      <dgm:prSet/>
      <dgm:spPr/>
      <dgm:t>
        <a:bodyPr/>
        <a:lstStyle/>
        <a:p>
          <a:endParaRPr lang="vi-VN"/>
        </a:p>
      </dgm:t>
    </dgm:pt>
    <dgm:pt modelId="{5E3D20EF-A1D9-4622-A6A1-C9B5FF2BD515}">
      <dgm:prSet/>
      <dgm:spPr/>
      <dgm:t>
        <a:bodyPr/>
        <a:lstStyle/>
        <a:p>
          <a:r>
            <a:rPr lang="en-US"/>
            <a:t>List activity</a:t>
          </a:r>
          <a:endParaRPr lang="vi-VN"/>
        </a:p>
      </dgm:t>
    </dgm:pt>
    <dgm:pt modelId="{BE858912-A960-4335-A357-564D6C2FFF93}" type="parTrans" cxnId="{2818C379-7C87-45D2-9E57-4DB47E6F3A82}">
      <dgm:prSet/>
      <dgm:spPr/>
      <dgm:t>
        <a:bodyPr/>
        <a:lstStyle/>
        <a:p>
          <a:endParaRPr lang="vi-VN"/>
        </a:p>
      </dgm:t>
    </dgm:pt>
    <dgm:pt modelId="{052EC144-DEF2-450B-891C-60255130464E}" type="sibTrans" cxnId="{2818C379-7C87-45D2-9E57-4DB47E6F3A82}">
      <dgm:prSet/>
      <dgm:spPr/>
      <dgm:t>
        <a:bodyPr/>
        <a:lstStyle/>
        <a:p>
          <a:endParaRPr lang="vi-VN"/>
        </a:p>
      </dgm:t>
    </dgm:pt>
    <dgm:pt modelId="{9EE83E31-5552-4C14-AD4F-4C5194C3A1AC}">
      <dgm:prSet/>
      <dgm:spPr/>
      <dgm:t>
        <a:bodyPr/>
        <a:lstStyle/>
        <a:p>
          <a:r>
            <a:rPr lang="en-US"/>
            <a:t>View Activity</a:t>
          </a:r>
          <a:endParaRPr lang="vi-VN"/>
        </a:p>
      </dgm:t>
    </dgm:pt>
    <dgm:pt modelId="{7E31DAD7-241E-4BDB-8302-CF1A8EBE7E68}" type="parTrans" cxnId="{238DB292-2FA7-4C9E-898D-699C4DA348E6}">
      <dgm:prSet/>
      <dgm:spPr/>
      <dgm:t>
        <a:bodyPr/>
        <a:lstStyle/>
        <a:p>
          <a:endParaRPr lang="vi-VN"/>
        </a:p>
      </dgm:t>
    </dgm:pt>
    <dgm:pt modelId="{FA0D0F67-0AF3-4538-9748-A7D19795C1AB}" type="sibTrans" cxnId="{238DB292-2FA7-4C9E-898D-699C4DA348E6}">
      <dgm:prSet/>
      <dgm:spPr/>
      <dgm:t>
        <a:bodyPr/>
        <a:lstStyle/>
        <a:p>
          <a:endParaRPr lang="vi-VN"/>
        </a:p>
      </dgm:t>
    </dgm:pt>
    <dgm:pt modelId="{50303AD9-76D4-40F1-92FB-4C94EF15F74F}">
      <dgm:prSet/>
      <dgm:spPr/>
      <dgm:t>
        <a:bodyPr/>
        <a:lstStyle/>
        <a:p>
          <a:r>
            <a:rPr lang="en-US"/>
            <a:t>Sign up</a:t>
          </a:r>
          <a:endParaRPr lang="vi-VN"/>
        </a:p>
      </dgm:t>
    </dgm:pt>
    <dgm:pt modelId="{5B5BB7E4-4205-40AE-B561-5F7693918D75}" type="parTrans" cxnId="{F9068958-4C19-41FA-AF18-64520EE08676}">
      <dgm:prSet/>
      <dgm:spPr/>
      <dgm:t>
        <a:bodyPr/>
        <a:lstStyle/>
        <a:p>
          <a:endParaRPr lang="vi-VN"/>
        </a:p>
      </dgm:t>
    </dgm:pt>
    <dgm:pt modelId="{F35956C8-AD39-4B6A-B6DE-D4EEB67A1DC7}" type="sibTrans" cxnId="{F9068958-4C19-41FA-AF18-64520EE08676}">
      <dgm:prSet/>
      <dgm:spPr/>
      <dgm:t>
        <a:bodyPr/>
        <a:lstStyle/>
        <a:p>
          <a:endParaRPr lang="vi-VN"/>
        </a:p>
      </dgm:t>
    </dgm:pt>
    <dgm:pt modelId="{BF8A21FC-C2CD-4C25-9E92-FB50A7FF815B}">
      <dgm:prSet/>
      <dgm:spPr/>
      <dgm:t>
        <a:bodyPr/>
        <a:lstStyle/>
        <a:p>
          <a:r>
            <a:rPr lang="en-US"/>
            <a:t>Sign out</a:t>
          </a:r>
          <a:endParaRPr lang="vi-VN"/>
        </a:p>
      </dgm:t>
    </dgm:pt>
    <dgm:pt modelId="{5EA67257-49ED-463A-912C-43DC5FA729A3}" type="parTrans" cxnId="{AB9C351D-82D4-48EE-A4F9-C484142FF164}">
      <dgm:prSet/>
      <dgm:spPr/>
      <dgm:t>
        <a:bodyPr/>
        <a:lstStyle/>
        <a:p>
          <a:endParaRPr lang="vi-VN"/>
        </a:p>
      </dgm:t>
    </dgm:pt>
    <dgm:pt modelId="{2263153B-4B17-457B-8A6D-9E48B0F974DA}" type="sibTrans" cxnId="{AB9C351D-82D4-48EE-A4F9-C484142FF164}">
      <dgm:prSet/>
      <dgm:spPr/>
      <dgm:t>
        <a:bodyPr/>
        <a:lstStyle/>
        <a:p>
          <a:endParaRPr lang="vi-VN"/>
        </a:p>
      </dgm:t>
    </dgm:pt>
    <dgm:pt modelId="{C1F60B1D-6A4C-49B5-9FE5-8E6C988E08D7}">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user</a:t>
          </a:r>
          <a:endParaRPr lang="vi-VN"/>
        </a:p>
      </dgm:t>
    </dgm:pt>
    <dgm:pt modelId="{E2D6200B-497F-46B1-8901-C41E7A0EFA22}" type="parTrans" cxnId="{F49BED94-B506-4FD4-936C-1485805F01F8}">
      <dgm:prSet/>
      <dgm:spPr/>
      <dgm:t>
        <a:bodyPr/>
        <a:lstStyle/>
        <a:p>
          <a:endParaRPr lang="vi-VN"/>
        </a:p>
      </dgm:t>
    </dgm:pt>
    <dgm:pt modelId="{5F673325-14AA-43D7-A981-0B643FF03EE2}" type="sibTrans" cxnId="{F49BED94-B506-4FD4-936C-1485805F01F8}">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12">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12">
        <dgm:presLayoutVars>
          <dgm:chPref val="3"/>
        </dgm:presLayoutVars>
      </dgm:prSet>
      <dgm:spPr/>
    </dgm:pt>
    <dgm:pt modelId="{CC9EED9B-BE3C-4011-8191-C6F57B88AA13}" type="pres">
      <dgm:prSet presAssocID="{2D06292C-4259-4828-B1CA-9047FC051FD0}" presName="parTransFour" presStyleCnt="0"/>
      <dgm:spPr/>
    </dgm:pt>
    <dgm:pt modelId="{834BEABC-571F-497A-8F1D-1DA0C88ACBD0}" type="pres">
      <dgm:prSet presAssocID="{2D06292C-4259-4828-B1CA-9047FC051FD0}" presName="horzFour" presStyleCnt="0"/>
      <dgm:spPr/>
    </dgm:pt>
    <dgm:pt modelId="{757923D9-2EC0-40B6-B9D7-F17BC0A8DD29}" type="pres">
      <dgm:prSet presAssocID="{C1F60B1D-6A4C-49B5-9FE5-8E6C988E08D7}" presName="vertFour" presStyleCnt="0">
        <dgm:presLayoutVars>
          <dgm:chPref val="3"/>
        </dgm:presLayoutVars>
      </dgm:prSet>
      <dgm:spPr/>
    </dgm:pt>
    <dgm:pt modelId="{C920CEF5-6DDA-4154-BFEF-12EED1B18761}" type="pres">
      <dgm:prSet presAssocID="{C1F60B1D-6A4C-49B5-9FE5-8E6C988E08D7}" presName="txFour" presStyleLbl="node4" presStyleIdx="2" presStyleCnt="12">
        <dgm:presLayoutVars>
          <dgm:chPref val="3"/>
        </dgm:presLayoutVars>
      </dgm:prSet>
      <dgm:spPr/>
    </dgm:pt>
    <dgm:pt modelId="{193560A2-4A9D-4CAC-A68B-CA6A02E54C10}" type="pres">
      <dgm:prSet presAssocID="{C1F60B1D-6A4C-49B5-9FE5-8E6C988E08D7}" presName="horzFour" presStyleCnt="0"/>
      <dgm:spPr/>
    </dgm:pt>
    <dgm:pt modelId="{40663D6C-8364-4056-A47F-F3169560D2E3}" type="pres">
      <dgm:prSet presAssocID="{97883FFC-60D4-4BF0-B4FA-EB0ABE8EA0C3}" presName="sibSpaceFour" presStyleCnt="0"/>
      <dgm:spPr/>
    </dgm:pt>
    <dgm:pt modelId="{21CF4778-5E84-4A85-8969-BACB2793E079}" type="pres">
      <dgm:prSet presAssocID="{F614F0E6-CE19-4869-88FD-8A64D693C282}" presName="vertFour" presStyleCnt="0">
        <dgm:presLayoutVars>
          <dgm:chPref val="3"/>
        </dgm:presLayoutVars>
      </dgm:prSet>
      <dgm:spPr/>
    </dgm:pt>
    <dgm:pt modelId="{05C7A7C6-A8DF-4D56-A7EC-9B33AF937D98}" type="pres">
      <dgm:prSet presAssocID="{F614F0E6-CE19-4869-88FD-8A64D693C282}" presName="txFour" presStyleLbl="node4" presStyleIdx="3" presStyleCnt="12">
        <dgm:presLayoutVars>
          <dgm:chPref val="3"/>
        </dgm:presLayoutVars>
      </dgm:prSet>
      <dgm:spPr/>
    </dgm:pt>
    <dgm:pt modelId="{78CDC9BF-E4A1-408C-94C2-296297166C54}" type="pres">
      <dgm:prSet presAssocID="{F614F0E6-CE19-4869-88FD-8A64D693C282}" presName="parTransFour" presStyleCnt="0"/>
      <dgm:spPr/>
    </dgm:pt>
    <dgm:pt modelId="{5F8BBD7C-4C89-4811-A1F4-B7A9497E0809}" type="pres">
      <dgm:prSet presAssocID="{F614F0E6-CE19-4869-88FD-8A64D693C282}" presName="horzFour" presStyleCnt="0"/>
      <dgm:spPr/>
    </dgm:pt>
    <dgm:pt modelId="{E73BFF39-5160-4BAC-B7A9-1585760C903F}" type="pres">
      <dgm:prSet presAssocID="{3E657125-A671-4F7C-A57A-6B6BFEA768C1}" presName="vertFour" presStyleCnt="0">
        <dgm:presLayoutVars>
          <dgm:chPref val="3"/>
        </dgm:presLayoutVars>
      </dgm:prSet>
      <dgm:spPr/>
    </dgm:pt>
    <dgm:pt modelId="{26A87C7B-C01B-4F12-8FEB-CA6DD1935BC2}" type="pres">
      <dgm:prSet presAssocID="{3E657125-A671-4F7C-A57A-6B6BFEA768C1}" presName="txFour" presStyleLbl="node4" presStyleIdx="4" presStyleCnt="12">
        <dgm:presLayoutVars>
          <dgm:chPref val="3"/>
        </dgm:presLayoutVars>
      </dgm:prSet>
      <dgm:spPr/>
    </dgm:pt>
    <dgm:pt modelId="{B850C9C7-9722-4108-A4F3-545042FDAC76}" type="pres">
      <dgm:prSet presAssocID="{3E657125-A671-4F7C-A57A-6B6BFEA768C1}" presName="parTransFour" presStyleCnt="0"/>
      <dgm:spPr/>
    </dgm:pt>
    <dgm:pt modelId="{E0EAADF9-7DE7-4106-818D-42BC50B73AAA}" type="pres">
      <dgm:prSet presAssocID="{3E657125-A671-4F7C-A57A-6B6BFEA768C1}" presName="horzFour" presStyleCnt="0"/>
      <dgm:spPr/>
    </dgm:pt>
    <dgm:pt modelId="{CE19B5B3-4A20-4AA2-9F3E-5516B5D67491}" type="pres">
      <dgm:prSet presAssocID="{476B8C27-D82A-411D-887B-A5D10CB84E15}" presName="vertFour" presStyleCnt="0">
        <dgm:presLayoutVars>
          <dgm:chPref val="3"/>
        </dgm:presLayoutVars>
      </dgm:prSet>
      <dgm:spPr/>
    </dgm:pt>
    <dgm:pt modelId="{B3C0F0B6-427F-4365-883E-F44A7D418F93}" type="pres">
      <dgm:prSet presAssocID="{476B8C27-D82A-411D-887B-A5D10CB84E15}" presName="txFour" presStyleLbl="node4" presStyleIdx="5" presStyleCnt="12">
        <dgm:presLayoutVars>
          <dgm:chPref val="3"/>
        </dgm:presLayoutVars>
      </dgm:prSet>
      <dgm:spPr/>
    </dgm:pt>
    <dgm:pt modelId="{1B994FA3-4D72-4555-A06E-DC48FD56B22D}" type="pres">
      <dgm:prSet presAssocID="{476B8C27-D82A-411D-887B-A5D10CB84E15}"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343533DD-743D-4C0B-9DD7-9C6B77F35B4B}"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437FD263-5710-4AF9-BD0C-88915D74A1E8}" type="pres">
      <dgm:prSet presAssocID="{5E3D20EF-A1D9-4622-A6A1-C9B5FF2BD515}" presName="vertFour" presStyleCnt="0">
        <dgm:presLayoutVars>
          <dgm:chPref val="3"/>
        </dgm:presLayoutVars>
      </dgm:prSet>
      <dgm:spPr/>
    </dgm:pt>
    <dgm:pt modelId="{5D5B6D22-EDCE-4EB7-9392-4FCACCA2DDBE}" type="pres">
      <dgm:prSet presAssocID="{5E3D20EF-A1D9-4622-A6A1-C9B5FF2BD515}" presName="txFour" presStyleLbl="node4" presStyleIdx="6" presStyleCnt="12">
        <dgm:presLayoutVars>
          <dgm:chPref val="3"/>
        </dgm:presLayoutVars>
      </dgm:prSet>
      <dgm:spPr/>
    </dgm:pt>
    <dgm:pt modelId="{22C22058-1046-44AF-AD86-239DE8C4AC86}" type="pres">
      <dgm:prSet presAssocID="{5E3D20EF-A1D9-4622-A6A1-C9B5FF2BD515}" presName="parTransFour" presStyleCnt="0"/>
      <dgm:spPr/>
    </dgm:pt>
    <dgm:pt modelId="{F36087D5-FE8F-4098-998C-CAA17CC7F291}" type="pres">
      <dgm:prSet presAssocID="{5E3D20EF-A1D9-4622-A6A1-C9B5FF2BD515}" presName="horzFour" presStyleCnt="0"/>
      <dgm:spPr/>
    </dgm:pt>
    <dgm:pt modelId="{A1CCAA3F-0167-49EC-B6AC-0A9BF52A48ED}" type="pres">
      <dgm:prSet presAssocID="{9EE83E31-5552-4C14-AD4F-4C5194C3A1AC}" presName="vertFour" presStyleCnt="0">
        <dgm:presLayoutVars>
          <dgm:chPref val="3"/>
        </dgm:presLayoutVars>
      </dgm:prSet>
      <dgm:spPr/>
    </dgm:pt>
    <dgm:pt modelId="{37EEE7E1-BA9A-46A3-B460-2D20AFBC73B9}" type="pres">
      <dgm:prSet presAssocID="{9EE83E31-5552-4C14-AD4F-4C5194C3A1AC}" presName="txFour" presStyleLbl="node4" presStyleIdx="7" presStyleCnt="12">
        <dgm:presLayoutVars>
          <dgm:chPref val="3"/>
        </dgm:presLayoutVars>
      </dgm:prSet>
      <dgm:spPr/>
    </dgm:pt>
    <dgm:pt modelId="{6F8B00CD-CB4B-4E8A-815B-42E8F9EAA2F0}" type="pres">
      <dgm:prSet presAssocID="{9EE83E31-5552-4C14-AD4F-4C5194C3A1AC}" presName="parTransFour" presStyleCnt="0"/>
      <dgm:spPr/>
    </dgm:pt>
    <dgm:pt modelId="{671976CC-B093-4477-8520-AEED9E090075}" type="pres">
      <dgm:prSet presAssocID="{9EE83E31-5552-4C14-AD4F-4C5194C3A1AC}" presName="horzFour" presStyleCnt="0"/>
      <dgm:spPr/>
    </dgm:pt>
    <dgm:pt modelId="{F8945EA4-B54B-468A-B63E-45840BD57556}" type="pres">
      <dgm:prSet presAssocID="{50303AD9-76D4-40F1-92FB-4C94EF15F74F}" presName="vertFour" presStyleCnt="0">
        <dgm:presLayoutVars>
          <dgm:chPref val="3"/>
        </dgm:presLayoutVars>
      </dgm:prSet>
      <dgm:spPr/>
    </dgm:pt>
    <dgm:pt modelId="{498E8B4B-112E-4C48-AA0C-0A93AF64DB86}" type="pres">
      <dgm:prSet presAssocID="{50303AD9-76D4-40F1-92FB-4C94EF15F74F}" presName="txFour" presStyleLbl="node4" presStyleIdx="8" presStyleCnt="12">
        <dgm:presLayoutVars>
          <dgm:chPref val="3"/>
        </dgm:presLayoutVars>
      </dgm:prSet>
      <dgm:spPr/>
    </dgm:pt>
    <dgm:pt modelId="{4E487C47-E5F7-44ED-94A7-F8798CEF5A4C}" type="pres">
      <dgm:prSet presAssocID="{50303AD9-76D4-40F1-92FB-4C94EF15F74F}" presName="horzFour" presStyleCnt="0"/>
      <dgm:spPr/>
    </dgm:pt>
    <dgm:pt modelId="{C5FFAAD3-2047-40B9-81F1-61432167AC62}" type="pres">
      <dgm:prSet presAssocID="{F35956C8-AD39-4B6A-B6DE-D4EEB67A1DC7}" presName="sibSpaceFour" presStyleCnt="0"/>
      <dgm:spPr/>
    </dgm:pt>
    <dgm:pt modelId="{8106F50D-9E6A-4297-99AD-24E45ED931EC}" type="pres">
      <dgm:prSet presAssocID="{BF8A21FC-C2CD-4C25-9E92-FB50A7FF815B}" presName="vertFour" presStyleCnt="0">
        <dgm:presLayoutVars>
          <dgm:chPref val="3"/>
        </dgm:presLayoutVars>
      </dgm:prSet>
      <dgm:spPr/>
    </dgm:pt>
    <dgm:pt modelId="{EF3E5C27-2AED-4300-BC42-6B0E04D86765}" type="pres">
      <dgm:prSet presAssocID="{BF8A21FC-C2CD-4C25-9E92-FB50A7FF815B}" presName="txFour" presStyleLbl="node4" presStyleIdx="9" presStyleCnt="12">
        <dgm:presLayoutVars>
          <dgm:chPref val="3"/>
        </dgm:presLayoutVars>
      </dgm:prSet>
      <dgm:spPr/>
    </dgm:pt>
    <dgm:pt modelId="{E572E428-4BAA-40B8-899E-926D8205C6D8}" type="pres">
      <dgm:prSet presAssocID="{BF8A21FC-C2CD-4C25-9E92-FB50A7FF815B}" presName="horzFour" presStyleCnt="0"/>
      <dgm:spPr/>
    </dgm:pt>
    <dgm:pt modelId="{A6F439B6-F38F-4E4B-8876-B2C2D4438EF3}" type="pres">
      <dgm:prSet presAssocID="{052EC144-DEF2-450B-891C-60255130464E}" presName="sibSpaceFour"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10" presStyleCnt="12">
        <dgm:presLayoutVars>
          <dgm:chPref val="3"/>
        </dgm:presLayoutVars>
      </dgm:prSet>
      <dgm:spPr/>
    </dgm:pt>
    <dgm:pt modelId="{A5B040D4-214E-482E-845E-E8B3A0BB4B48}"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11" presStyleCnt="12">
        <dgm:presLayoutVars>
          <dgm:chPref val="3"/>
        </dgm:presLayoutVars>
      </dgm:prSet>
      <dgm:spPr/>
    </dgm:pt>
    <dgm:pt modelId="{8AA176B0-933C-47B7-BAE1-26E1D16A0899}" type="pres">
      <dgm:prSet presAssocID="{48E029B4-CCC2-409F-850C-59A32D69BF9A}" presName="horzFour" presStyleCnt="0"/>
      <dgm:spPr/>
    </dgm:pt>
  </dgm:ptLst>
  <dgm:cxnLst>
    <dgm:cxn modelId="{32573806-ECAE-4224-AFC3-AF5FF2E93D9C}" type="presOf" srcId="{48E029B4-CCC2-409F-850C-59A32D69BF9A}" destId="{506BE77E-9718-4F22-9258-BF56BABF942B}" srcOrd="0" destOrd="0" presId="urn:microsoft.com/office/officeart/2005/8/layout/architecture"/>
    <dgm:cxn modelId="{ACE5730A-6935-4210-A8CF-FFD7316E2E45}" type="presOf" srcId="{5E3D20EF-A1D9-4622-A6A1-C9B5FF2BD515}" destId="{5D5B6D22-EDCE-4EB7-9392-4FCACCA2DDBE}" srcOrd="0" destOrd="0" presId="urn:microsoft.com/office/officeart/2005/8/layout/architecture"/>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1" destOrd="0" parTransId="{361217A6-DCA0-45F8-8BC8-50DE0E01CA8B}" sibTransId="{83CE76D1-B1BD-49E3-A4A4-1982B033ADBF}"/>
    <dgm:cxn modelId="{AB9C351D-82D4-48EE-A4F9-C484142FF164}" srcId="{9EE83E31-5552-4C14-AD4F-4C5194C3A1AC}" destId="{BF8A21FC-C2CD-4C25-9E92-FB50A7FF815B}" srcOrd="1" destOrd="0" parTransId="{5EA67257-49ED-463A-912C-43DC5FA729A3}" sibTransId="{2263153B-4B17-457B-8A6D-9E48B0F974DA}"/>
    <dgm:cxn modelId="{A375BD1E-3069-40D2-9B88-E421D9FACE68}" type="presOf" srcId="{F614F0E6-CE19-4869-88FD-8A64D693C282}" destId="{05C7A7C6-A8DF-4D56-A7EC-9B33AF937D98}" srcOrd="0" destOrd="0" presId="urn:microsoft.com/office/officeart/2005/8/layout/architecture"/>
    <dgm:cxn modelId="{C1AD9C25-2767-4773-BBA0-A24E4BCE6F9F}" srcId="{5CABFB2F-18BE-43F7-B34F-23989EC7D752}" destId="{50787CEA-7436-4E60-8212-873ED94AA65A}" srcOrd="0" destOrd="0" parTransId="{D60CEA22-052A-4CDD-9CE3-702F13D35AF6}" sibTransId="{096734E9-5C08-4FB4-B404-FA129DB6C042}"/>
    <dgm:cxn modelId="{30E1E228-434F-434E-8D9A-9EAB439F9E5E}" type="presOf" srcId="{476B8C27-D82A-411D-887B-A5D10CB84E15}" destId="{B3C0F0B6-427F-4365-883E-F44A7D418F93}" srcOrd="0" destOrd="0" presId="urn:microsoft.com/office/officeart/2005/8/layout/architecture"/>
    <dgm:cxn modelId="{C036F02F-FBB5-491C-85E6-343A3275A73D}" type="presOf" srcId="{C1F60B1D-6A4C-49B5-9FE5-8E6C988E08D7}" destId="{C920CEF5-6DDA-4154-BFEF-12EED1B18761}" srcOrd="0" destOrd="0" presId="urn:microsoft.com/office/officeart/2005/8/layout/architecture"/>
    <dgm:cxn modelId="{D398653D-3A03-4FE2-B1E7-BA0F30ABFCB3}" srcId="{FF545D1D-B148-4301-B72A-ED72035562DA}" destId="{48E029B4-CCC2-409F-850C-59A32D69BF9A}" srcOrd="0" destOrd="0" parTransId="{FD67280A-8448-43FE-B044-31BB0A70211F}" sibTransId="{F2EE8EBF-4A87-426C-8326-D826A12858BE}"/>
    <dgm:cxn modelId="{BCE57342-FBAD-492C-B2A6-3F176F90B581}" srcId="{7ECAC806-65D5-42B6-95F5-A272625E902E}" destId="{F614F0E6-CE19-4869-88FD-8A64D693C282}" srcOrd="1" destOrd="0" parTransId="{1FFD6D64-3232-4A56-99E2-A8A312E21CDE}" sibTransId="{A2E9FA39-32CE-4CE3-B764-789AD892B40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C081566A-DED9-4E00-BC81-D80962FECBE5}" type="presOf" srcId="{FF545D1D-B148-4301-B72A-ED72035562DA}" destId="{1FCEF47A-5290-466B-8FBA-055D887A939A}" srcOrd="0" destOrd="0" presId="urn:microsoft.com/office/officeart/2005/8/layout/architecture"/>
    <dgm:cxn modelId="{A8BB2371-5F93-4D4F-B7CA-4D7901FC4B75}" srcId="{50787CEA-7436-4E60-8212-873ED94AA65A}" destId="{7ECAC806-65D5-42B6-95F5-A272625E902E}" srcOrd="0" destOrd="0" parTransId="{B477479E-B2B8-4285-9E4A-170BF8178A56}" sibTransId="{28AB5868-0E10-4B23-8FD1-8BC2C07345BD}"/>
    <dgm:cxn modelId="{471A4754-FEDB-4ED1-8B57-7ADA9F6D9D7C}" type="presOf" srcId="{BF8A21FC-C2CD-4C25-9E92-FB50A7FF815B}" destId="{EF3E5C27-2AED-4300-BC42-6B0E04D86765}" srcOrd="0" destOrd="0" presId="urn:microsoft.com/office/officeart/2005/8/layout/architecture"/>
    <dgm:cxn modelId="{F9068958-4C19-41FA-AF18-64520EE08676}" srcId="{9EE83E31-5552-4C14-AD4F-4C5194C3A1AC}" destId="{50303AD9-76D4-40F1-92FB-4C94EF15F74F}" srcOrd="0" destOrd="0" parTransId="{5B5BB7E4-4205-40AE-B561-5F7693918D75}" sibTransId="{F35956C8-AD39-4B6A-B6DE-D4EEB67A1DC7}"/>
    <dgm:cxn modelId="{AF5FC158-6E44-4F02-9F82-81E405798FEF}" type="presOf" srcId="{50303AD9-76D4-40F1-92FB-4C94EF15F74F}" destId="{498E8B4B-112E-4C48-AA0C-0A93AF64DB86}" srcOrd="0" destOrd="0" presId="urn:microsoft.com/office/officeart/2005/8/layout/architecture"/>
    <dgm:cxn modelId="{2818C379-7C87-45D2-9E57-4DB47E6F3A82}" srcId="{0A35EC5D-D336-45D6-A0E1-917796CAB019}" destId="{5E3D20EF-A1D9-4622-A6A1-C9B5FF2BD515}" srcOrd="0" destOrd="0" parTransId="{BE858912-A960-4335-A357-564D6C2FFF93}" sibTransId="{052EC144-DEF2-450B-891C-60255130464E}"/>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238DB292-2FA7-4C9E-898D-699C4DA348E6}" srcId="{5E3D20EF-A1D9-4622-A6A1-C9B5FF2BD515}" destId="{9EE83E31-5552-4C14-AD4F-4C5194C3A1AC}" srcOrd="0" destOrd="0" parTransId="{7E31DAD7-241E-4BDB-8302-CF1A8EBE7E68}" sibTransId="{FA0D0F67-0AF3-4538-9748-A7D19795C1AB}"/>
    <dgm:cxn modelId="{F49BED94-B506-4FD4-936C-1485805F01F8}" srcId="{2D06292C-4259-4828-B1CA-9047FC051FD0}" destId="{C1F60B1D-6A4C-49B5-9FE5-8E6C988E08D7}" srcOrd="0" destOrd="0" parTransId="{E2D6200B-497F-46B1-8901-C41E7A0EFA22}" sibTransId="{5F673325-14AA-43D7-A981-0B643FF03EE2}"/>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48C58FB4-23FD-49D1-BB63-5051BCFC6EA9}" srcId="{3E657125-A671-4F7C-A57A-6B6BFEA768C1}" destId="{476B8C27-D82A-411D-887B-A5D10CB84E15}" srcOrd="0" destOrd="0" parTransId="{9903C43E-7819-45CF-9702-2FB1088E4161}" sibTransId="{59C0576A-11D9-4E83-A282-4FAF007E90B9}"/>
    <dgm:cxn modelId="{3A2664C5-6103-48DB-B194-AF392537F8DE}" srcId="{F614F0E6-CE19-4869-88FD-8A64D693C282}" destId="{3E657125-A671-4F7C-A57A-6B6BFEA768C1}" srcOrd="0" destOrd="0" parTransId="{AA83FE5B-80E3-43ED-B261-45335B83A457}" sibTransId="{09070EA6-6A1A-42AE-8AC3-4685452570EA}"/>
    <dgm:cxn modelId="{CAF31FDA-8AD2-4DC3-8406-B90937F4A6B1}" type="presOf" srcId="{50787CEA-7436-4E60-8212-873ED94AA65A}" destId="{C4240A56-C612-41E9-9D0B-9A6B282BA87E}" srcOrd="0" destOrd="0" presId="urn:microsoft.com/office/officeart/2005/8/layout/architecture"/>
    <dgm:cxn modelId="{B83F99DC-3667-43AB-96B4-CDA6CACA132A}" type="presOf" srcId="{9EE83E31-5552-4C14-AD4F-4C5194C3A1AC}" destId="{37EEE7E1-BA9A-46A3-B460-2D20AFBC73B9}"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5067AEF1-16EA-45C9-B7AA-3B1DC33381DE}" type="presOf" srcId="{3E657125-A671-4F7C-A57A-6B6BFEA768C1}" destId="{26A87C7B-C01B-4F12-8FEB-CA6DD1935BC2}"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92207615-607A-41A4-95A2-FB4517B08B03}" type="presParOf" srcId="{A0D1BEC7-2160-4F2F-9FB3-153D79ABDD56}" destId="{CC9EED9B-BE3C-4011-8191-C6F57B88AA13}"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B4CCF0BD-F3E1-4706-9AEE-16F521313E6A}" type="presParOf" srcId="{834BEABC-571F-497A-8F1D-1DA0C88ACBD0}" destId="{757923D9-2EC0-40B6-B9D7-F17BC0A8DD29}" srcOrd="0" destOrd="0" presId="urn:microsoft.com/office/officeart/2005/8/layout/architecture"/>
    <dgm:cxn modelId="{61E2B7CC-B9C0-4D37-B3EF-221C0879AC0D}" type="presParOf" srcId="{757923D9-2EC0-40B6-B9D7-F17BC0A8DD29}" destId="{C920CEF5-6DDA-4154-BFEF-12EED1B18761}" srcOrd="0" destOrd="0" presId="urn:microsoft.com/office/officeart/2005/8/layout/architecture"/>
    <dgm:cxn modelId="{3E035790-EC80-44D5-B80F-7E225EF44914}" type="presParOf" srcId="{757923D9-2EC0-40B6-B9D7-F17BC0A8DD29}" destId="{193560A2-4A9D-4CAC-A68B-CA6A02E54C10}" srcOrd="1" destOrd="0" presId="urn:microsoft.com/office/officeart/2005/8/layout/architecture"/>
    <dgm:cxn modelId="{864E3997-1ACC-4D11-A300-654BCD6785D2}" type="presParOf" srcId="{11B1C312-A86A-470B-876F-11FCC3CE8ECF}" destId="{40663D6C-8364-4056-A47F-F3169560D2E3}" srcOrd="1" destOrd="0" presId="urn:microsoft.com/office/officeart/2005/8/layout/architecture"/>
    <dgm:cxn modelId="{7BF12339-BF35-481F-B7D5-68E63BF19B34}" type="presParOf" srcId="{11B1C312-A86A-470B-876F-11FCC3CE8ECF}" destId="{21CF4778-5E84-4A85-8969-BACB2793E079}" srcOrd="2" destOrd="0" presId="urn:microsoft.com/office/officeart/2005/8/layout/architecture"/>
    <dgm:cxn modelId="{769DEBF4-E9DE-4FC4-87B6-37C5520627FF}" type="presParOf" srcId="{21CF4778-5E84-4A85-8969-BACB2793E079}" destId="{05C7A7C6-A8DF-4D56-A7EC-9B33AF937D98}" srcOrd="0" destOrd="0" presId="urn:microsoft.com/office/officeart/2005/8/layout/architecture"/>
    <dgm:cxn modelId="{A25E417A-3B78-42C2-9131-AF9B1C423D34}" type="presParOf" srcId="{21CF4778-5E84-4A85-8969-BACB2793E079}" destId="{78CDC9BF-E4A1-408C-94C2-296297166C54}" srcOrd="1" destOrd="0" presId="urn:microsoft.com/office/officeart/2005/8/layout/architecture"/>
    <dgm:cxn modelId="{757C7226-60D4-4735-9524-5C31388C2CD6}" type="presParOf" srcId="{21CF4778-5E84-4A85-8969-BACB2793E079}" destId="{5F8BBD7C-4C89-4811-A1F4-B7A9497E0809}" srcOrd="2" destOrd="0" presId="urn:microsoft.com/office/officeart/2005/8/layout/architecture"/>
    <dgm:cxn modelId="{C5D9953E-8AAB-4AA4-842B-42E2C4E1410A}" type="presParOf" srcId="{5F8BBD7C-4C89-4811-A1F4-B7A9497E0809}" destId="{E73BFF39-5160-4BAC-B7A9-1585760C903F}" srcOrd="0" destOrd="0" presId="urn:microsoft.com/office/officeart/2005/8/layout/architecture"/>
    <dgm:cxn modelId="{A78EE875-806E-4189-B5D9-96D3F2097EDD}" type="presParOf" srcId="{E73BFF39-5160-4BAC-B7A9-1585760C903F}" destId="{26A87C7B-C01B-4F12-8FEB-CA6DD1935BC2}" srcOrd="0" destOrd="0" presId="urn:microsoft.com/office/officeart/2005/8/layout/architecture"/>
    <dgm:cxn modelId="{8793461E-9EF0-4E64-9478-71637162C7A7}" type="presParOf" srcId="{E73BFF39-5160-4BAC-B7A9-1585760C903F}" destId="{B850C9C7-9722-4108-A4F3-545042FDAC76}" srcOrd="1" destOrd="0" presId="urn:microsoft.com/office/officeart/2005/8/layout/architecture"/>
    <dgm:cxn modelId="{865600D8-2407-4C08-A437-F95AD0A395E3}" type="presParOf" srcId="{E73BFF39-5160-4BAC-B7A9-1585760C903F}" destId="{E0EAADF9-7DE7-4106-818D-42BC50B73AAA}" srcOrd="2" destOrd="0" presId="urn:microsoft.com/office/officeart/2005/8/layout/architecture"/>
    <dgm:cxn modelId="{04619933-3A19-477F-B080-38D6627E1472}" type="presParOf" srcId="{E0EAADF9-7DE7-4106-818D-42BC50B73AAA}" destId="{CE19B5B3-4A20-4AA2-9F3E-5516B5D67491}" srcOrd="0" destOrd="0" presId="urn:microsoft.com/office/officeart/2005/8/layout/architecture"/>
    <dgm:cxn modelId="{22FCF181-8104-4D8F-BA44-DAEA86707C78}" type="presParOf" srcId="{CE19B5B3-4A20-4AA2-9F3E-5516B5D67491}" destId="{B3C0F0B6-427F-4365-883E-F44A7D418F93}" srcOrd="0" destOrd="0" presId="urn:microsoft.com/office/officeart/2005/8/layout/architecture"/>
    <dgm:cxn modelId="{EA61EAFC-659B-44A4-AC28-1FD3AF566C2C}" type="presParOf" srcId="{CE19B5B3-4A20-4AA2-9F3E-5516B5D67491}" destId="{1B994FA3-4D72-4555-A06E-DC48FD56B22D}"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99222726-36FF-40A7-817B-76F91A7B2715}" type="presParOf" srcId="{2BD03152-B2CC-478E-BF3C-0AE6B20789C2}" destId="{343533DD-743D-4C0B-9DD7-9C6B77F35B4B}"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A674156D-E3A6-4D0D-994D-01E9FB9D4084}" type="presParOf" srcId="{7A709EAB-AA2B-4472-BE7F-22688105E34D}" destId="{437FD263-5710-4AF9-BD0C-88915D74A1E8}" srcOrd="0" destOrd="0" presId="urn:microsoft.com/office/officeart/2005/8/layout/architecture"/>
    <dgm:cxn modelId="{48AAFBEC-3B74-4A43-A73F-47788FA15EE4}" type="presParOf" srcId="{437FD263-5710-4AF9-BD0C-88915D74A1E8}" destId="{5D5B6D22-EDCE-4EB7-9392-4FCACCA2DDBE}" srcOrd="0" destOrd="0" presId="urn:microsoft.com/office/officeart/2005/8/layout/architecture"/>
    <dgm:cxn modelId="{394ECA09-4C99-406A-80EC-95626FB86D92}" type="presParOf" srcId="{437FD263-5710-4AF9-BD0C-88915D74A1E8}" destId="{22C22058-1046-44AF-AD86-239DE8C4AC86}" srcOrd="1" destOrd="0" presId="urn:microsoft.com/office/officeart/2005/8/layout/architecture"/>
    <dgm:cxn modelId="{202406C5-5E5E-415F-829A-CB75F67D04A8}" type="presParOf" srcId="{437FD263-5710-4AF9-BD0C-88915D74A1E8}" destId="{F36087D5-FE8F-4098-998C-CAA17CC7F291}" srcOrd="2" destOrd="0" presId="urn:microsoft.com/office/officeart/2005/8/layout/architecture"/>
    <dgm:cxn modelId="{61CB16DC-9A78-435A-A471-A9CC2D1CAAB1}" type="presParOf" srcId="{F36087D5-FE8F-4098-998C-CAA17CC7F291}" destId="{A1CCAA3F-0167-49EC-B6AC-0A9BF52A48ED}" srcOrd="0" destOrd="0" presId="urn:microsoft.com/office/officeart/2005/8/layout/architecture"/>
    <dgm:cxn modelId="{32FA900C-66A0-423A-941A-F2385EA7A735}" type="presParOf" srcId="{A1CCAA3F-0167-49EC-B6AC-0A9BF52A48ED}" destId="{37EEE7E1-BA9A-46A3-B460-2D20AFBC73B9}" srcOrd="0" destOrd="0" presId="urn:microsoft.com/office/officeart/2005/8/layout/architecture"/>
    <dgm:cxn modelId="{8CFCD461-D206-469B-8B5F-6B434934D26C}" type="presParOf" srcId="{A1CCAA3F-0167-49EC-B6AC-0A9BF52A48ED}" destId="{6F8B00CD-CB4B-4E8A-815B-42E8F9EAA2F0}" srcOrd="1" destOrd="0" presId="urn:microsoft.com/office/officeart/2005/8/layout/architecture"/>
    <dgm:cxn modelId="{8C1B7441-B7E4-4BA6-9C0C-91A020E1C21C}" type="presParOf" srcId="{A1CCAA3F-0167-49EC-B6AC-0A9BF52A48ED}" destId="{671976CC-B093-4477-8520-AEED9E090075}" srcOrd="2" destOrd="0" presId="urn:microsoft.com/office/officeart/2005/8/layout/architecture"/>
    <dgm:cxn modelId="{B5080603-B89A-47CF-8981-B0F8D26240A3}" type="presParOf" srcId="{671976CC-B093-4477-8520-AEED9E090075}" destId="{F8945EA4-B54B-468A-B63E-45840BD57556}" srcOrd="0" destOrd="0" presId="urn:microsoft.com/office/officeart/2005/8/layout/architecture"/>
    <dgm:cxn modelId="{82091C76-DA36-4273-BE0E-D86A46BA24A3}" type="presParOf" srcId="{F8945EA4-B54B-468A-B63E-45840BD57556}" destId="{498E8B4B-112E-4C48-AA0C-0A93AF64DB86}" srcOrd="0" destOrd="0" presId="urn:microsoft.com/office/officeart/2005/8/layout/architecture"/>
    <dgm:cxn modelId="{57C976CB-F537-453A-B5F1-2F8380F9E717}" type="presParOf" srcId="{F8945EA4-B54B-468A-B63E-45840BD57556}" destId="{4E487C47-E5F7-44ED-94A7-F8798CEF5A4C}" srcOrd="1" destOrd="0" presId="urn:microsoft.com/office/officeart/2005/8/layout/architecture"/>
    <dgm:cxn modelId="{9D8D6424-35B4-4DD8-BACD-BA3A4016DBE4}" type="presParOf" srcId="{671976CC-B093-4477-8520-AEED9E090075}" destId="{C5FFAAD3-2047-40B9-81F1-61432167AC62}" srcOrd="1" destOrd="0" presId="urn:microsoft.com/office/officeart/2005/8/layout/architecture"/>
    <dgm:cxn modelId="{08EE5892-E962-42DB-BAD6-6D3149C8A365}" type="presParOf" srcId="{671976CC-B093-4477-8520-AEED9E090075}" destId="{8106F50D-9E6A-4297-99AD-24E45ED931EC}" srcOrd="2" destOrd="0" presId="urn:microsoft.com/office/officeart/2005/8/layout/architecture"/>
    <dgm:cxn modelId="{0D0378CA-5ABB-425D-A550-93120A4CA0C7}" type="presParOf" srcId="{8106F50D-9E6A-4297-99AD-24E45ED931EC}" destId="{EF3E5C27-2AED-4300-BC42-6B0E04D86765}" srcOrd="0" destOrd="0" presId="urn:microsoft.com/office/officeart/2005/8/layout/architecture"/>
    <dgm:cxn modelId="{F2E394FE-D0D1-4DFF-9F44-CD1960E8276E}" type="presParOf" srcId="{8106F50D-9E6A-4297-99AD-24E45ED931EC}" destId="{E572E428-4BAA-40B8-899E-926D8205C6D8}" srcOrd="1" destOrd="0" presId="urn:microsoft.com/office/officeart/2005/8/layout/architecture"/>
    <dgm:cxn modelId="{7409D636-398C-42FE-8762-4490B3238B3F}" type="presParOf" srcId="{7A709EAB-AA2B-4472-BE7F-22688105E34D}" destId="{A6F439B6-F38F-4E4B-8876-B2C2D4438EF3}" srcOrd="1" destOrd="0" presId="urn:microsoft.com/office/officeart/2005/8/layout/architecture"/>
    <dgm:cxn modelId="{153A4AA8-342D-42AF-A665-A03ADD90CEAD}" type="presParOf" srcId="{7A709EAB-AA2B-4472-BE7F-22688105E34D}" destId="{03BC0D2D-BCFF-43FD-B842-9A535026D76D}" srcOrd="2" destOrd="0" presId="urn:microsoft.com/office/officeart/2005/8/layout/architecture"/>
    <dgm:cxn modelId="{4CD2361A-58DF-447D-982E-07AF3F187EFD}" type="presParOf" srcId="{03BC0D2D-BCFF-43FD-B842-9A535026D76D}" destId="{1FCEF47A-5290-466B-8FBA-055D887A939A}" srcOrd="0" destOrd="0" presId="urn:microsoft.com/office/officeart/2005/8/layout/architecture"/>
    <dgm:cxn modelId="{84A27BE6-3BD6-4BC4-A4E9-38C13E05D41E}" type="presParOf" srcId="{03BC0D2D-BCFF-43FD-B842-9A535026D76D}" destId="{A5B040D4-214E-482E-845E-E8B3A0BB4B48}" srcOrd="1" destOrd="0" presId="urn:microsoft.com/office/officeart/2005/8/layout/architecture"/>
    <dgm:cxn modelId="{FEA2560A-E16C-46A7-B6A0-222AA88253EC}" type="presParOf" srcId="{03BC0D2D-BCFF-43FD-B842-9A535026D76D}" destId="{95FBCC70-D96D-4D3C-AF2C-BC6BDC0DB326}" srcOrd="2" destOrd="0" presId="urn:microsoft.com/office/officeart/2005/8/layout/architecture"/>
    <dgm:cxn modelId="{6C2AA08C-9480-4E64-8199-195C43B12B0E}" type="presParOf" srcId="{95FBCC70-D96D-4D3C-AF2C-BC6BDC0DB326}" destId="{A6295AAE-7F95-498F-AE88-F18965CFC468}" srcOrd="0" destOrd="0" presId="urn:microsoft.com/office/officeart/2005/8/layout/architecture"/>
    <dgm:cxn modelId="{241A0393-ADD3-4172-B65D-FB0E54ED37E8}" type="presParOf" srcId="{A6295AAE-7F95-498F-AE88-F18965CFC468}" destId="{506BE77E-9718-4F22-9258-BF56BABF942B}" srcOrd="0" destOrd="0" presId="urn:microsoft.com/office/officeart/2005/8/layout/architecture"/>
    <dgm:cxn modelId="{D70F47B4-CCAA-4229-8055-645AEB9D3221}"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E50EDAA-763F-4CE8-B418-81C294AC0E3B}" type="doc">
      <dgm:prSet loTypeId="urn:microsoft.com/office/officeart/2005/8/layout/architecture" loCatId="hierarchy" qsTypeId="urn:microsoft.com/office/officeart/2005/8/quickstyle/simple1" qsCatId="simple" csTypeId="urn:microsoft.com/office/officeart/2005/8/colors/colorful2" csCatId="colorful" phldr="1"/>
      <dgm:spPr/>
      <dgm:t>
        <a:bodyPr/>
        <a:lstStyle/>
        <a:p>
          <a:endParaRPr lang="vi-VN"/>
        </a:p>
      </dgm:t>
    </dgm:pt>
    <dgm:pt modelId="{5CABFB2F-18BE-43F7-B34F-23989EC7D752}">
      <dgm:prSet/>
      <dgm:spPr/>
      <dgm:t>
        <a:bodyPr/>
        <a:lstStyle/>
        <a:p>
          <a:r>
            <a:rPr lang="en-US"/>
            <a:t>Main menu</a:t>
          </a:r>
          <a:endParaRPr lang="vi-VN"/>
        </a:p>
      </dgm:t>
    </dgm:pt>
    <dgm:pt modelId="{0AE36E03-1D3A-4A5A-9149-C1BD63C6B0BC}" type="parTrans" cxnId="{73B30E67-F24E-412A-BD7B-E61D147BB1F0}">
      <dgm:prSet/>
      <dgm:spPr/>
      <dgm:t>
        <a:bodyPr/>
        <a:lstStyle/>
        <a:p>
          <a:endParaRPr lang="vi-VN"/>
        </a:p>
      </dgm:t>
    </dgm:pt>
    <dgm:pt modelId="{BF4F7A2D-4966-458E-B28E-B4DF8FC89CCE}" type="sibTrans" cxnId="{73B30E67-F24E-412A-BD7B-E61D147BB1F0}">
      <dgm:prSet/>
      <dgm:spPr/>
      <dgm:t>
        <a:bodyPr/>
        <a:lstStyle/>
        <a:p>
          <a:endParaRPr lang="vi-VN"/>
        </a:p>
      </dgm:t>
    </dgm:pt>
    <dgm:pt modelId="{50787CEA-7436-4E60-8212-873ED94AA65A}">
      <dgm:prSet/>
      <dgm:spPr/>
      <dgm:t>
        <a:bodyPr/>
        <a:lstStyle/>
        <a:p>
          <a:r>
            <a:rPr lang="en-US"/>
            <a:t>Login menu</a:t>
          </a:r>
          <a:endParaRPr lang="vi-VN"/>
        </a:p>
      </dgm:t>
    </dgm:pt>
    <dgm:pt modelId="{D60CEA22-052A-4CDD-9CE3-702F13D35AF6}" type="parTrans" cxnId="{C1AD9C25-2767-4773-BBA0-A24E4BCE6F9F}">
      <dgm:prSet/>
      <dgm:spPr/>
      <dgm:t>
        <a:bodyPr/>
        <a:lstStyle/>
        <a:p>
          <a:endParaRPr lang="vi-VN"/>
        </a:p>
      </dgm:t>
    </dgm:pt>
    <dgm:pt modelId="{096734E9-5C08-4FB4-B404-FA129DB6C042}" type="sibTrans" cxnId="{C1AD9C25-2767-4773-BBA0-A24E4BCE6F9F}">
      <dgm:prSet/>
      <dgm:spPr/>
      <dgm:t>
        <a:bodyPr/>
        <a:lstStyle/>
        <a:p>
          <a:endParaRPr lang="vi-VN"/>
        </a:p>
      </dgm:t>
    </dgm:pt>
    <dgm:pt modelId="{7ECAC806-65D5-42B6-95F5-A272625E902E}">
      <dgm:prSet/>
      <dgm:spPr/>
      <dgm:t>
        <a:bodyPr/>
        <a:lstStyle/>
        <a:p>
          <a:r>
            <a:rPr lang="en-US"/>
            <a:t>Organizer dashboard</a:t>
          </a:r>
          <a:endParaRPr lang="vi-VN"/>
        </a:p>
      </dgm:t>
    </dgm:pt>
    <dgm:pt modelId="{B477479E-B2B8-4285-9E4A-170BF8178A56}" type="parTrans" cxnId="{A8BB2371-5F93-4D4F-B7CA-4D7901FC4B75}">
      <dgm:prSet/>
      <dgm:spPr/>
      <dgm:t>
        <a:bodyPr/>
        <a:lstStyle/>
        <a:p>
          <a:endParaRPr lang="vi-VN"/>
        </a:p>
      </dgm:t>
    </dgm:pt>
    <dgm:pt modelId="{28AB5868-0E10-4B23-8FD1-8BC2C07345BD}" type="sibTrans" cxnId="{A8BB2371-5F93-4D4F-B7CA-4D7901FC4B75}">
      <dgm:prSet/>
      <dgm:spPr/>
      <dgm:t>
        <a:bodyPr/>
        <a:lstStyle/>
        <a:p>
          <a:endParaRPr lang="vi-VN"/>
        </a:p>
      </dgm:t>
    </dgm:pt>
    <dgm:pt modelId="{4C0EAB30-EDDD-43B9-88BB-0F63B96C046C}">
      <dgm:prSet/>
      <dgm:spPr/>
      <dgm:t>
        <a:bodyPr/>
        <a:lstStyle/>
        <a:p>
          <a:r>
            <a:rPr lang="en-US"/>
            <a:t>Manage users</a:t>
          </a:r>
          <a:endParaRPr lang="vi-VN"/>
        </a:p>
      </dgm:t>
    </dgm:pt>
    <dgm:pt modelId="{1AC89A83-FCEC-4035-B1D7-5014A5F206A1}" type="parTrans" cxnId="{FBBFD3A5-AD65-42A2-8B10-80F7320B17A9}">
      <dgm:prSet/>
      <dgm:spPr/>
      <dgm:t>
        <a:bodyPr/>
        <a:lstStyle/>
        <a:p>
          <a:endParaRPr lang="vi-VN"/>
        </a:p>
      </dgm:t>
    </dgm:pt>
    <dgm:pt modelId="{97883FFC-60D4-4BF0-B4FA-EB0ABE8EA0C3}" type="sibTrans" cxnId="{FBBFD3A5-AD65-42A2-8B10-80F7320B17A9}">
      <dgm:prSet/>
      <dgm:spPr/>
      <dgm:t>
        <a:bodyPr/>
        <a:lstStyle/>
        <a:p>
          <a:endParaRPr lang="vi-VN"/>
        </a:p>
      </dgm:t>
    </dgm:pt>
    <dgm:pt modelId="{2D06292C-4259-4828-B1CA-9047FC051FD0}">
      <dgm:prSet/>
      <dgm:spPr/>
      <dgm:t>
        <a:bodyPr/>
        <a:lstStyle/>
        <a:p>
          <a:r>
            <a:rPr lang="en-US"/>
            <a:t>View user</a:t>
          </a:r>
          <a:endParaRPr lang="vi-VN"/>
        </a:p>
      </dgm:t>
    </dgm:pt>
    <dgm:pt modelId="{B2A98ABE-B9AA-4B84-8AC8-3BA6FE8B5D64}" type="parTrans" cxnId="{C1A01BB1-D28A-4AE2-A32D-A6BCA2BD2D93}">
      <dgm:prSet/>
      <dgm:spPr/>
      <dgm:t>
        <a:bodyPr/>
        <a:lstStyle/>
        <a:p>
          <a:endParaRPr lang="vi-VN"/>
        </a:p>
      </dgm:t>
    </dgm:pt>
    <dgm:pt modelId="{DFE2B269-01B0-4574-A0B2-90ADF218F6A3}" type="sibTrans" cxnId="{C1A01BB1-D28A-4AE2-A32D-A6BCA2BD2D93}">
      <dgm:prSet/>
      <dgm:spPr/>
      <dgm:t>
        <a:bodyPr/>
        <a:lstStyle/>
        <a:p>
          <a:endParaRPr lang="vi-VN"/>
        </a:p>
      </dgm:t>
    </dgm:pt>
    <dgm:pt modelId="{0A35EC5D-D336-45D6-A0E1-917796CAB019}">
      <dgm:prSet/>
      <dgm:spPr/>
      <dgm:t>
        <a:bodyPr/>
        <a:lstStyle/>
        <a:p>
          <a:r>
            <a:rPr lang="en-US"/>
            <a:t>Member dashboard</a:t>
          </a:r>
          <a:endParaRPr lang="vi-VN"/>
        </a:p>
      </dgm:t>
    </dgm:pt>
    <dgm:pt modelId="{D2D29532-C7D9-4E66-843D-DB42B992EA76}" type="parTrans" cxnId="{154F6743-01FA-4487-918D-BCD5FFA6C592}">
      <dgm:prSet/>
      <dgm:spPr/>
      <dgm:t>
        <a:bodyPr/>
        <a:lstStyle/>
        <a:p>
          <a:endParaRPr lang="vi-VN"/>
        </a:p>
      </dgm:t>
    </dgm:pt>
    <dgm:pt modelId="{913B971E-D008-4D14-B369-0C6599DD4597}" type="sibTrans" cxnId="{154F6743-01FA-4487-918D-BCD5FFA6C592}">
      <dgm:prSet/>
      <dgm:spPr/>
      <dgm:t>
        <a:bodyPr/>
        <a:lstStyle/>
        <a:p>
          <a:endParaRPr lang="vi-VN"/>
        </a:p>
      </dgm:t>
    </dgm:pt>
    <dgm:pt modelId="{FF545D1D-B148-4301-B72A-ED72035562DA}">
      <dgm:prSet/>
      <dgm:spPr/>
      <dgm:t>
        <a:bodyPr/>
        <a:lstStyle/>
        <a:p>
          <a:r>
            <a:rPr lang="en-US"/>
            <a:t>View profile</a:t>
          </a:r>
          <a:endParaRPr lang="vi-VN"/>
        </a:p>
      </dgm:t>
    </dgm:pt>
    <dgm:pt modelId="{361217A6-DCA0-45F8-8BC8-50DE0E01CA8B}" type="parTrans" cxnId="{C7A39413-13B7-4917-A4D2-895ACC305868}">
      <dgm:prSet/>
      <dgm:spPr/>
      <dgm:t>
        <a:bodyPr/>
        <a:lstStyle/>
        <a:p>
          <a:endParaRPr lang="vi-VN"/>
        </a:p>
      </dgm:t>
    </dgm:pt>
    <dgm:pt modelId="{83CE76D1-B1BD-49E3-A4A4-1982B033ADBF}" type="sibTrans" cxnId="{C7A39413-13B7-4917-A4D2-895ACC305868}">
      <dgm:prSet/>
      <dgm:spPr/>
      <dgm:t>
        <a:bodyPr/>
        <a:lstStyle/>
        <a:p>
          <a:endParaRPr lang="vi-VN"/>
        </a:p>
      </dgm:t>
    </dgm:pt>
    <dgm:pt modelId="{48E029B4-CCC2-409F-850C-59A32D69BF9A}">
      <dgm:prSet/>
      <dgm:spPr/>
      <dgm:t>
        <a:bodyPr/>
        <a:lstStyle/>
        <a:p>
          <a:r>
            <a:rPr lang="en-US"/>
            <a:t>Update profile</a:t>
          </a:r>
          <a:endParaRPr lang="vi-VN"/>
        </a:p>
      </dgm:t>
    </dgm:pt>
    <dgm:pt modelId="{FD67280A-8448-43FE-B044-31BB0A70211F}" type="parTrans" cxnId="{D398653D-3A03-4FE2-B1E7-BA0F30ABFCB3}">
      <dgm:prSet/>
      <dgm:spPr/>
      <dgm:t>
        <a:bodyPr/>
        <a:lstStyle/>
        <a:p>
          <a:endParaRPr lang="vi-VN"/>
        </a:p>
      </dgm:t>
    </dgm:pt>
    <dgm:pt modelId="{F2EE8EBF-4A87-426C-8326-D826A12858BE}" type="sibTrans" cxnId="{D398653D-3A03-4FE2-B1E7-BA0F30ABFCB3}">
      <dgm:prSet/>
      <dgm:spPr/>
      <dgm:t>
        <a:bodyPr/>
        <a:lstStyle/>
        <a:p>
          <a:endParaRPr lang="vi-VN"/>
        </a:p>
      </dgm:t>
    </dgm:pt>
    <dgm:pt modelId="{F614F0E6-CE19-4869-88FD-8A64D693C282}">
      <dgm:prSet/>
      <dgm:spPr/>
      <dgm:t>
        <a:bodyPr/>
        <a:lstStyle/>
        <a:p>
          <a:r>
            <a:rPr lang="en-US"/>
            <a:t>Manage activity</a:t>
          </a:r>
          <a:endParaRPr lang="vi-VN"/>
        </a:p>
      </dgm:t>
    </dgm:pt>
    <dgm:pt modelId="{1FFD6D64-3232-4A56-99E2-A8A312E21CDE}" type="parTrans" cxnId="{BCE57342-FBAD-492C-B2A6-3F176F90B581}">
      <dgm:prSet/>
      <dgm:spPr/>
      <dgm:t>
        <a:bodyPr/>
        <a:lstStyle/>
        <a:p>
          <a:endParaRPr lang="vi-VN"/>
        </a:p>
      </dgm:t>
    </dgm:pt>
    <dgm:pt modelId="{A2E9FA39-32CE-4CE3-B764-789AD892B40E}" type="sibTrans" cxnId="{BCE57342-FBAD-492C-B2A6-3F176F90B581}">
      <dgm:prSet/>
      <dgm:spPr/>
      <dgm:t>
        <a:bodyPr/>
        <a:lstStyle/>
        <a:p>
          <a:endParaRPr lang="vi-VN"/>
        </a:p>
      </dgm:t>
    </dgm:pt>
    <dgm:pt modelId="{3E657125-A671-4F7C-A57A-6B6BFEA768C1}">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activity</a:t>
          </a:r>
          <a:endParaRPr lang="vi-VN"/>
        </a:p>
      </dgm:t>
    </dgm:pt>
    <dgm:pt modelId="{AA83FE5B-80E3-43ED-B261-45335B83A457}" type="parTrans" cxnId="{3A2664C5-6103-48DB-B194-AF392537F8DE}">
      <dgm:prSet/>
      <dgm:spPr/>
      <dgm:t>
        <a:bodyPr/>
        <a:lstStyle/>
        <a:p>
          <a:endParaRPr lang="vi-VN"/>
        </a:p>
      </dgm:t>
    </dgm:pt>
    <dgm:pt modelId="{09070EA6-6A1A-42AE-8AC3-4685452570EA}" type="sibTrans" cxnId="{3A2664C5-6103-48DB-B194-AF392537F8DE}">
      <dgm:prSet/>
      <dgm:spPr/>
      <dgm:t>
        <a:bodyPr/>
        <a:lstStyle/>
        <a:p>
          <a:endParaRPr lang="vi-VN"/>
        </a:p>
      </dgm:t>
    </dgm:pt>
    <dgm:pt modelId="{476B8C27-D82A-411D-887B-A5D10CB84E15}">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Update activity</a:t>
          </a:r>
          <a:endParaRPr lang="vi-VN"/>
        </a:p>
      </dgm:t>
    </dgm:pt>
    <dgm:pt modelId="{9903C43E-7819-45CF-9702-2FB1088E4161}" type="parTrans" cxnId="{48C58FB4-23FD-49D1-BB63-5051BCFC6EA9}">
      <dgm:prSet/>
      <dgm:spPr/>
      <dgm:t>
        <a:bodyPr/>
        <a:lstStyle/>
        <a:p>
          <a:endParaRPr lang="vi-VN"/>
        </a:p>
      </dgm:t>
    </dgm:pt>
    <dgm:pt modelId="{59C0576A-11D9-4E83-A282-4FAF007E90B9}" type="sibTrans" cxnId="{48C58FB4-23FD-49D1-BB63-5051BCFC6EA9}">
      <dgm:prSet/>
      <dgm:spPr/>
      <dgm:t>
        <a:bodyPr/>
        <a:lstStyle/>
        <a:p>
          <a:endParaRPr lang="vi-VN"/>
        </a:p>
      </dgm:t>
    </dgm:pt>
    <dgm:pt modelId="{5E3D20EF-A1D9-4622-A6A1-C9B5FF2BD515}">
      <dgm:prSet/>
      <dgm:spPr/>
      <dgm:t>
        <a:bodyPr/>
        <a:lstStyle/>
        <a:p>
          <a:r>
            <a:rPr lang="en-US"/>
            <a:t>List activity</a:t>
          </a:r>
          <a:endParaRPr lang="vi-VN"/>
        </a:p>
      </dgm:t>
    </dgm:pt>
    <dgm:pt modelId="{BE858912-A960-4335-A357-564D6C2FFF93}" type="parTrans" cxnId="{2818C379-7C87-45D2-9E57-4DB47E6F3A82}">
      <dgm:prSet/>
      <dgm:spPr/>
      <dgm:t>
        <a:bodyPr/>
        <a:lstStyle/>
        <a:p>
          <a:endParaRPr lang="vi-VN"/>
        </a:p>
      </dgm:t>
    </dgm:pt>
    <dgm:pt modelId="{052EC144-DEF2-450B-891C-60255130464E}" type="sibTrans" cxnId="{2818C379-7C87-45D2-9E57-4DB47E6F3A82}">
      <dgm:prSet/>
      <dgm:spPr/>
      <dgm:t>
        <a:bodyPr/>
        <a:lstStyle/>
        <a:p>
          <a:endParaRPr lang="vi-VN"/>
        </a:p>
      </dgm:t>
    </dgm:pt>
    <dgm:pt modelId="{9EE83E31-5552-4C14-AD4F-4C5194C3A1AC}">
      <dgm:prSet/>
      <dgm:spPr>
        <a:ln w="38100">
          <a:solidFill>
            <a:srgbClr val="0F2047"/>
          </a:solidFill>
          <a:extLst>
            <a:ext uri="{C807C97D-BFC1-408E-A445-0C87EB9F89A2}">
              <ask:lineSketchStyleProps xmlns:ask="http://schemas.microsoft.com/office/drawing/2018/sketchyshapes">
                <ask:type>
                  <ask:lineSketchFreehand/>
                </ask:type>
              </ask:lineSketchStyleProps>
            </a:ext>
          </a:extLst>
        </a:ln>
      </dgm:spPr>
      <dgm:t>
        <a:bodyPr/>
        <a:lstStyle/>
        <a:p>
          <a:r>
            <a:rPr lang="en-US"/>
            <a:t>View Activity</a:t>
          </a:r>
          <a:endParaRPr lang="vi-VN"/>
        </a:p>
      </dgm:t>
    </dgm:pt>
    <dgm:pt modelId="{7E31DAD7-241E-4BDB-8302-CF1A8EBE7E68}" type="parTrans" cxnId="{238DB292-2FA7-4C9E-898D-699C4DA348E6}">
      <dgm:prSet/>
      <dgm:spPr/>
      <dgm:t>
        <a:bodyPr/>
        <a:lstStyle/>
        <a:p>
          <a:endParaRPr lang="vi-VN"/>
        </a:p>
      </dgm:t>
    </dgm:pt>
    <dgm:pt modelId="{FA0D0F67-0AF3-4538-9748-A7D19795C1AB}" type="sibTrans" cxnId="{238DB292-2FA7-4C9E-898D-699C4DA348E6}">
      <dgm:prSet/>
      <dgm:spPr/>
      <dgm:t>
        <a:bodyPr/>
        <a:lstStyle/>
        <a:p>
          <a:endParaRPr lang="vi-VN"/>
        </a:p>
      </dgm:t>
    </dgm:pt>
    <dgm:pt modelId="{50303AD9-76D4-40F1-92FB-4C94EF15F74F}">
      <dgm:prSet/>
      <dgm:spPr/>
      <dgm:t>
        <a:bodyPr/>
        <a:lstStyle/>
        <a:p>
          <a:r>
            <a:rPr lang="en-US"/>
            <a:t>Sign up</a:t>
          </a:r>
          <a:endParaRPr lang="vi-VN"/>
        </a:p>
      </dgm:t>
    </dgm:pt>
    <dgm:pt modelId="{5B5BB7E4-4205-40AE-B561-5F7693918D75}" type="parTrans" cxnId="{F9068958-4C19-41FA-AF18-64520EE08676}">
      <dgm:prSet/>
      <dgm:spPr/>
      <dgm:t>
        <a:bodyPr/>
        <a:lstStyle/>
        <a:p>
          <a:endParaRPr lang="vi-VN"/>
        </a:p>
      </dgm:t>
    </dgm:pt>
    <dgm:pt modelId="{F35956C8-AD39-4B6A-B6DE-D4EEB67A1DC7}" type="sibTrans" cxnId="{F9068958-4C19-41FA-AF18-64520EE08676}">
      <dgm:prSet/>
      <dgm:spPr/>
      <dgm:t>
        <a:bodyPr/>
        <a:lstStyle/>
        <a:p>
          <a:endParaRPr lang="vi-VN"/>
        </a:p>
      </dgm:t>
    </dgm:pt>
    <dgm:pt modelId="{BF8A21FC-C2CD-4C25-9E92-FB50A7FF815B}">
      <dgm:prSet/>
      <dgm:spPr/>
      <dgm:t>
        <a:bodyPr/>
        <a:lstStyle/>
        <a:p>
          <a:r>
            <a:rPr lang="en-US"/>
            <a:t>Sign out</a:t>
          </a:r>
          <a:endParaRPr lang="vi-VN"/>
        </a:p>
      </dgm:t>
    </dgm:pt>
    <dgm:pt modelId="{5EA67257-49ED-463A-912C-43DC5FA729A3}" type="parTrans" cxnId="{AB9C351D-82D4-48EE-A4F9-C484142FF164}">
      <dgm:prSet/>
      <dgm:spPr/>
      <dgm:t>
        <a:bodyPr/>
        <a:lstStyle/>
        <a:p>
          <a:endParaRPr lang="vi-VN"/>
        </a:p>
      </dgm:t>
    </dgm:pt>
    <dgm:pt modelId="{2263153B-4B17-457B-8A6D-9E48B0F974DA}" type="sibTrans" cxnId="{AB9C351D-82D4-48EE-A4F9-C484142FF164}">
      <dgm:prSet/>
      <dgm:spPr/>
      <dgm:t>
        <a:bodyPr/>
        <a:lstStyle/>
        <a:p>
          <a:endParaRPr lang="vi-VN"/>
        </a:p>
      </dgm:t>
    </dgm:pt>
    <dgm:pt modelId="{C1F60B1D-6A4C-49B5-9FE5-8E6C988E08D7}">
      <dgm:prSet/>
      <dgm:spPr/>
      <dgm:t>
        <a:bodyPr/>
        <a:lstStyle/>
        <a:p>
          <a:r>
            <a:rPr lang="en-US"/>
            <a:t>Update user</a:t>
          </a:r>
          <a:endParaRPr lang="vi-VN"/>
        </a:p>
      </dgm:t>
    </dgm:pt>
    <dgm:pt modelId="{E2D6200B-497F-46B1-8901-C41E7A0EFA22}" type="parTrans" cxnId="{F49BED94-B506-4FD4-936C-1485805F01F8}">
      <dgm:prSet/>
      <dgm:spPr/>
      <dgm:t>
        <a:bodyPr/>
        <a:lstStyle/>
        <a:p>
          <a:endParaRPr lang="vi-VN"/>
        </a:p>
      </dgm:t>
    </dgm:pt>
    <dgm:pt modelId="{5F673325-14AA-43D7-A981-0B643FF03EE2}" type="sibTrans" cxnId="{F49BED94-B506-4FD4-936C-1485805F01F8}">
      <dgm:prSet/>
      <dgm:spPr/>
      <dgm:t>
        <a:bodyPr/>
        <a:lstStyle/>
        <a:p>
          <a:endParaRPr lang="vi-VN"/>
        </a:p>
      </dgm:t>
    </dgm:pt>
    <dgm:pt modelId="{A8AEA952-565D-4699-8EE7-9915288F3A34}" type="pres">
      <dgm:prSet presAssocID="{CE50EDAA-763F-4CE8-B418-81C294AC0E3B}" presName="Name0" presStyleCnt="0">
        <dgm:presLayoutVars>
          <dgm:chPref val="1"/>
          <dgm:dir/>
          <dgm:animOne val="branch"/>
          <dgm:animLvl val="lvl"/>
          <dgm:resizeHandles/>
        </dgm:presLayoutVars>
      </dgm:prSet>
      <dgm:spPr/>
    </dgm:pt>
    <dgm:pt modelId="{9CD28C12-AD59-4F48-BF9A-05EBF350F617}" type="pres">
      <dgm:prSet presAssocID="{5CABFB2F-18BE-43F7-B34F-23989EC7D752}" presName="vertOne" presStyleCnt="0"/>
      <dgm:spPr/>
    </dgm:pt>
    <dgm:pt modelId="{77A7248D-12DD-4800-80EE-FFE52B2BF620}" type="pres">
      <dgm:prSet presAssocID="{5CABFB2F-18BE-43F7-B34F-23989EC7D752}" presName="txOne" presStyleLbl="node0" presStyleIdx="0" presStyleCnt="1">
        <dgm:presLayoutVars>
          <dgm:chPref val="3"/>
        </dgm:presLayoutVars>
      </dgm:prSet>
      <dgm:spPr/>
    </dgm:pt>
    <dgm:pt modelId="{74843946-BF87-4F9F-8BE2-F32C83C1ABEE}" type="pres">
      <dgm:prSet presAssocID="{5CABFB2F-18BE-43F7-B34F-23989EC7D752}" presName="parTransOne" presStyleCnt="0"/>
      <dgm:spPr/>
    </dgm:pt>
    <dgm:pt modelId="{82146A2A-F37A-4B18-83A9-6695B1966611}" type="pres">
      <dgm:prSet presAssocID="{5CABFB2F-18BE-43F7-B34F-23989EC7D752}" presName="horzOne" presStyleCnt="0"/>
      <dgm:spPr/>
    </dgm:pt>
    <dgm:pt modelId="{E1267A7D-9DF9-41D1-94E5-5255F51D47B6}" type="pres">
      <dgm:prSet presAssocID="{50787CEA-7436-4E60-8212-873ED94AA65A}" presName="vertTwo" presStyleCnt="0"/>
      <dgm:spPr/>
    </dgm:pt>
    <dgm:pt modelId="{C4240A56-C612-41E9-9D0B-9A6B282BA87E}" type="pres">
      <dgm:prSet presAssocID="{50787CEA-7436-4E60-8212-873ED94AA65A}" presName="txTwo" presStyleLbl="node2" presStyleIdx="0" presStyleCnt="1">
        <dgm:presLayoutVars>
          <dgm:chPref val="3"/>
        </dgm:presLayoutVars>
      </dgm:prSet>
      <dgm:spPr/>
    </dgm:pt>
    <dgm:pt modelId="{1AA851AC-EE60-4C8D-AD54-F4CE48B724A2}" type="pres">
      <dgm:prSet presAssocID="{50787CEA-7436-4E60-8212-873ED94AA65A}" presName="parTransTwo" presStyleCnt="0"/>
      <dgm:spPr/>
    </dgm:pt>
    <dgm:pt modelId="{4CBE5A18-D76B-4620-8AD4-6AB9A3A3568A}" type="pres">
      <dgm:prSet presAssocID="{50787CEA-7436-4E60-8212-873ED94AA65A}" presName="horzTwo" presStyleCnt="0"/>
      <dgm:spPr/>
    </dgm:pt>
    <dgm:pt modelId="{EEDB93D3-4D5F-4E94-ACE6-231BAF2ED66D}" type="pres">
      <dgm:prSet presAssocID="{7ECAC806-65D5-42B6-95F5-A272625E902E}" presName="vertThree" presStyleCnt="0"/>
      <dgm:spPr/>
    </dgm:pt>
    <dgm:pt modelId="{670504ED-D533-41A5-B215-3AC86C8703A1}" type="pres">
      <dgm:prSet presAssocID="{7ECAC806-65D5-42B6-95F5-A272625E902E}" presName="txThree" presStyleLbl="node3" presStyleIdx="0" presStyleCnt="2">
        <dgm:presLayoutVars>
          <dgm:chPref val="3"/>
        </dgm:presLayoutVars>
      </dgm:prSet>
      <dgm:spPr/>
    </dgm:pt>
    <dgm:pt modelId="{EDCC63AC-BAE6-4EB4-B62A-B13741FA46F2}" type="pres">
      <dgm:prSet presAssocID="{7ECAC806-65D5-42B6-95F5-A272625E902E}" presName="parTransThree" presStyleCnt="0"/>
      <dgm:spPr/>
    </dgm:pt>
    <dgm:pt modelId="{11B1C312-A86A-470B-876F-11FCC3CE8ECF}" type="pres">
      <dgm:prSet presAssocID="{7ECAC806-65D5-42B6-95F5-A272625E902E}" presName="horzThree" presStyleCnt="0"/>
      <dgm:spPr/>
    </dgm:pt>
    <dgm:pt modelId="{CF75782B-6014-467C-B894-046C0C901512}" type="pres">
      <dgm:prSet presAssocID="{4C0EAB30-EDDD-43B9-88BB-0F63B96C046C}" presName="vertFour" presStyleCnt="0">
        <dgm:presLayoutVars>
          <dgm:chPref val="3"/>
        </dgm:presLayoutVars>
      </dgm:prSet>
      <dgm:spPr/>
    </dgm:pt>
    <dgm:pt modelId="{BA254C3A-AE19-463C-BF39-FA78DC0C375D}" type="pres">
      <dgm:prSet presAssocID="{4C0EAB30-EDDD-43B9-88BB-0F63B96C046C}" presName="txFour" presStyleLbl="node4" presStyleIdx="0" presStyleCnt="12">
        <dgm:presLayoutVars>
          <dgm:chPref val="3"/>
        </dgm:presLayoutVars>
      </dgm:prSet>
      <dgm:spPr/>
    </dgm:pt>
    <dgm:pt modelId="{25B54D69-3478-4609-AD18-E51867AFF713}" type="pres">
      <dgm:prSet presAssocID="{4C0EAB30-EDDD-43B9-88BB-0F63B96C046C}" presName="parTransFour" presStyleCnt="0"/>
      <dgm:spPr/>
    </dgm:pt>
    <dgm:pt modelId="{5975838B-853D-44F4-A75A-19E1D1F008F9}" type="pres">
      <dgm:prSet presAssocID="{4C0EAB30-EDDD-43B9-88BB-0F63B96C046C}" presName="horzFour" presStyleCnt="0"/>
      <dgm:spPr/>
    </dgm:pt>
    <dgm:pt modelId="{A0D1BEC7-2160-4F2F-9FB3-153D79ABDD56}" type="pres">
      <dgm:prSet presAssocID="{2D06292C-4259-4828-B1CA-9047FC051FD0}" presName="vertFour" presStyleCnt="0">
        <dgm:presLayoutVars>
          <dgm:chPref val="3"/>
        </dgm:presLayoutVars>
      </dgm:prSet>
      <dgm:spPr/>
    </dgm:pt>
    <dgm:pt modelId="{9C06722C-6EE1-41DB-8E3A-08122AE43141}" type="pres">
      <dgm:prSet presAssocID="{2D06292C-4259-4828-B1CA-9047FC051FD0}" presName="txFour" presStyleLbl="node4" presStyleIdx="1" presStyleCnt="12">
        <dgm:presLayoutVars>
          <dgm:chPref val="3"/>
        </dgm:presLayoutVars>
      </dgm:prSet>
      <dgm:spPr/>
    </dgm:pt>
    <dgm:pt modelId="{CC9EED9B-BE3C-4011-8191-C6F57B88AA13}" type="pres">
      <dgm:prSet presAssocID="{2D06292C-4259-4828-B1CA-9047FC051FD0}" presName="parTransFour" presStyleCnt="0"/>
      <dgm:spPr/>
    </dgm:pt>
    <dgm:pt modelId="{834BEABC-571F-497A-8F1D-1DA0C88ACBD0}" type="pres">
      <dgm:prSet presAssocID="{2D06292C-4259-4828-B1CA-9047FC051FD0}" presName="horzFour" presStyleCnt="0"/>
      <dgm:spPr/>
    </dgm:pt>
    <dgm:pt modelId="{757923D9-2EC0-40B6-B9D7-F17BC0A8DD29}" type="pres">
      <dgm:prSet presAssocID="{C1F60B1D-6A4C-49B5-9FE5-8E6C988E08D7}" presName="vertFour" presStyleCnt="0">
        <dgm:presLayoutVars>
          <dgm:chPref val="3"/>
        </dgm:presLayoutVars>
      </dgm:prSet>
      <dgm:spPr/>
    </dgm:pt>
    <dgm:pt modelId="{C920CEF5-6DDA-4154-BFEF-12EED1B18761}" type="pres">
      <dgm:prSet presAssocID="{C1F60B1D-6A4C-49B5-9FE5-8E6C988E08D7}" presName="txFour" presStyleLbl="node4" presStyleIdx="2" presStyleCnt="12">
        <dgm:presLayoutVars>
          <dgm:chPref val="3"/>
        </dgm:presLayoutVars>
      </dgm:prSet>
      <dgm:spPr/>
    </dgm:pt>
    <dgm:pt modelId="{193560A2-4A9D-4CAC-A68B-CA6A02E54C10}" type="pres">
      <dgm:prSet presAssocID="{C1F60B1D-6A4C-49B5-9FE5-8E6C988E08D7}" presName="horzFour" presStyleCnt="0"/>
      <dgm:spPr/>
    </dgm:pt>
    <dgm:pt modelId="{40663D6C-8364-4056-A47F-F3169560D2E3}" type="pres">
      <dgm:prSet presAssocID="{97883FFC-60D4-4BF0-B4FA-EB0ABE8EA0C3}" presName="sibSpaceFour" presStyleCnt="0"/>
      <dgm:spPr/>
    </dgm:pt>
    <dgm:pt modelId="{21CF4778-5E84-4A85-8969-BACB2793E079}" type="pres">
      <dgm:prSet presAssocID="{F614F0E6-CE19-4869-88FD-8A64D693C282}" presName="vertFour" presStyleCnt="0">
        <dgm:presLayoutVars>
          <dgm:chPref val="3"/>
        </dgm:presLayoutVars>
      </dgm:prSet>
      <dgm:spPr/>
    </dgm:pt>
    <dgm:pt modelId="{05C7A7C6-A8DF-4D56-A7EC-9B33AF937D98}" type="pres">
      <dgm:prSet presAssocID="{F614F0E6-CE19-4869-88FD-8A64D693C282}" presName="txFour" presStyleLbl="node4" presStyleIdx="3" presStyleCnt="12">
        <dgm:presLayoutVars>
          <dgm:chPref val="3"/>
        </dgm:presLayoutVars>
      </dgm:prSet>
      <dgm:spPr/>
    </dgm:pt>
    <dgm:pt modelId="{78CDC9BF-E4A1-408C-94C2-296297166C54}" type="pres">
      <dgm:prSet presAssocID="{F614F0E6-CE19-4869-88FD-8A64D693C282}" presName="parTransFour" presStyleCnt="0"/>
      <dgm:spPr/>
    </dgm:pt>
    <dgm:pt modelId="{5F8BBD7C-4C89-4811-A1F4-B7A9497E0809}" type="pres">
      <dgm:prSet presAssocID="{F614F0E6-CE19-4869-88FD-8A64D693C282}" presName="horzFour" presStyleCnt="0"/>
      <dgm:spPr/>
    </dgm:pt>
    <dgm:pt modelId="{E73BFF39-5160-4BAC-B7A9-1585760C903F}" type="pres">
      <dgm:prSet presAssocID="{3E657125-A671-4F7C-A57A-6B6BFEA768C1}" presName="vertFour" presStyleCnt="0">
        <dgm:presLayoutVars>
          <dgm:chPref val="3"/>
        </dgm:presLayoutVars>
      </dgm:prSet>
      <dgm:spPr/>
    </dgm:pt>
    <dgm:pt modelId="{26A87C7B-C01B-4F12-8FEB-CA6DD1935BC2}" type="pres">
      <dgm:prSet presAssocID="{3E657125-A671-4F7C-A57A-6B6BFEA768C1}" presName="txFour" presStyleLbl="node4" presStyleIdx="4" presStyleCnt="12">
        <dgm:presLayoutVars>
          <dgm:chPref val="3"/>
        </dgm:presLayoutVars>
      </dgm:prSet>
      <dgm:spPr/>
    </dgm:pt>
    <dgm:pt modelId="{B850C9C7-9722-4108-A4F3-545042FDAC76}" type="pres">
      <dgm:prSet presAssocID="{3E657125-A671-4F7C-A57A-6B6BFEA768C1}" presName="parTransFour" presStyleCnt="0"/>
      <dgm:spPr/>
    </dgm:pt>
    <dgm:pt modelId="{E0EAADF9-7DE7-4106-818D-42BC50B73AAA}" type="pres">
      <dgm:prSet presAssocID="{3E657125-A671-4F7C-A57A-6B6BFEA768C1}" presName="horzFour" presStyleCnt="0"/>
      <dgm:spPr/>
    </dgm:pt>
    <dgm:pt modelId="{CE19B5B3-4A20-4AA2-9F3E-5516B5D67491}" type="pres">
      <dgm:prSet presAssocID="{476B8C27-D82A-411D-887B-A5D10CB84E15}" presName="vertFour" presStyleCnt="0">
        <dgm:presLayoutVars>
          <dgm:chPref val="3"/>
        </dgm:presLayoutVars>
      </dgm:prSet>
      <dgm:spPr/>
    </dgm:pt>
    <dgm:pt modelId="{B3C0F0B6-427F-4365-883E-F44A7D418F93}" type="pres">
      <dgm:prSet presAssocID="{476B8C27-D82A-411D-887B-A5D10CB84E15}" presName="txFour" presStyleLbl="node4" presStyleIdx="5" presStyleCnt="12">
        <dgm:presLayoutVars>
          <dgm:chPref val="3"/>
        </dgm:presLayoutVars>
      </dgm:prSet>
      <dgm:spPr/>
    </dgm:pt>
    <dgm:pt modelId="{1B994FA3-4D72-4555-A06E-DC48FD56B22D}" type="pres">
      <dgm:prSet presAssocID="{476B8C27-D82A-411D-887B-A5D10CB84E15}" presName="horzFour" presStyleCnt="0"/>
      <dgm:spPr/>
    </dgm:pt>
    <dgm:pt modelId="{D0D9924F-2C65-4EE9-9EAE-D3C8D3854A28}" type="pres">
      <dgm:prSet presAssocID="{28AB5868-0E10-4B23-8FD1-8BC2C07345BD}" presName="sibSpaceThree" presStyleCnt="0"/>
      <dgm:spPr/>
    </dgm:pt>
    <dgm:pt modelId="{2BD03152-B2CC-478E-BF3C-0AE6B20789C2}" type="pres">
      <dgm:prSet presAssocID="{0A35EC5D-D336-45D6-A0E1-917796CAB019}" presName="vertThree" presStyleCnt="0"/>
      <dgm:spPr/>
    </dgm:pt>
    <dgm:pt modelId="{9D1BD11B-7BD9-404E-9AD3-59AE0D2DA140}" type="pres">
      <dgm:prSet presAssocID="{0A35EC5D-D336-45D6-A0E1-917796CAB019}" presName="txThree" presStyleLbl="node3" presStyleIdx="1" presStyleCnt="2">
        <dgm:presLayoutVars>
          <dgm:chPref val="3"/>
        </dgm:presLayoutVars>
      </dgm:prSet>
      <dgm:spPr/>
    </dgm:pt>
    <dgm:pt modelId="{343533DD-743D-4C0B-9DD7-9C6B77F35B4B}" type="pres">
      <dgm:prSet presAssocID="{0A35EC5D-D336-45D6-A0E1-917796CAB019}" presName="parTransThree" presStyleCnt="0"/>
      <dgm:spPr/>
    </dgm:pt>
    <dgm:pt modelId="{7A709EAB-AA2B-4472-BE7F-22688105E34D}" type="pres">
      <dgm:prSet presAssocID="{0A35EC5D-D336-45D6-A0E1-917796CAB019}" presName="horzThree" presStyleCnt="0"/>
      <dgm:spPr/>
    </dgm:pt>
    <dgm:pt modelId="{437FD263-5710-4AF9-BD0C-88915D74A1E8}" type="pres">
      <dgm:prSet presAssocID="{5E3D20EF-A1D9-4622-A6A1-C9B5FF2BD515}" presName="vertFour" presStyleCnt="0">
        <dgm:presLayoutVars>
          <dgm:chPref val="3"/>
        </dgm:presLayoutVars>
      </dgm:prSet>
      <dgm:spPr/>
    </dgm:pt>
    <dgm:pt modelId="{5D5B6D22-EDCE-4EB7-9392-4FCACCA2DDBE}" type="pres">
      <dgm:prSet presAssocID="{5E3D20EF-A1D9-4622-A6A1-C9B5FF2BD515}" presName="txFour" presStyleLbl="node4" presStyleIdx="6" presStyleCnt="12">
        <dgm:presLayoutVars>
          <dgm:chPref val="3"/>
        </dgm:presLayoutVars>
      </dgm:prSet>
      <dgm:spPr/>
    </dgm:pt>
    <dgm:pt modelId="{22C22058-1046-44AF-AD86-239DE8C4AC86}" type="pres">
      <dgm:prSet presAssocID="{5E3D20EF-A1D9-4622-A6A1-C9B5FF2BD515}" presName="parTransFour" presStyleCnt="0"/>
      <dgm:spPr/>
    </dgm:pt>
    <dgm:pt modelId="{F36087D5-FE8F-4098-998C-CAA17CC7F291}" type="pres">
      <dgm:prSet presAssocID="{5E3D20EF-A1D9-4622-A6A1-C9B5FF2BD515}" presName="horzFour" presStyleCnt="0"/>
      <dgm:spPr/>
    </dgm:pt>
    <dgm:pt modelId="{A1CCAA3F-0167-49EC-B6AC-0A9BF52A48ED}" type="pres">
      <dgm:prSet presAssocID="{9EE83E31-5552-4C14-AD4F-4C5194C3A1AC}" presName="vertFour" presStyleCnt="0">
        <dgm:presLayoutVars>
          <dgm:chPref val="3"/>
        </dgm:presLayoutVars>
      </dgm:prSet>
      <dgm:spPr/>
    </dgm:pt>
    <dgm:pt modelId="{37EEE7E1-BA9A-46A3-B460-2D20AFBC73B9}" type="pres">
      <dgm:prSet presAssocID="{9EE83E31-5552-4C14-AD4F-4C5194C3A1AC}" presName="txFour" presStyleLbl="node4" presStyleIdx="7" presStyleCnt="12">
        <dgm:presLayoutVars>
          <dgm:chPref val="3"/>
        </dgm:presLayoutVars>
      </dgm:prSet>
      <dgm:spPr/>
    </dgm:pt>
    <dgm:pt modelId="{6F8B00CD-CB4B-4E8A-815B-42E8F9EAA2F0}" type="pres">
      <dgm:prSet presAssocID="{9EE83E31-5552-4C14-AD4F-4C5194C3A1AC}" presName="parTransFour" presStyleCnt="0"/>
      <dgm:spPr/>
    </dgm:pt>
    <dgm:pt modelId="{671976CC-B093-4477-8520-AEED9E090075}" type="pres">
      <dgm:prSet presAssocID="{9EE83E31-5552-4C14-AD4F-4C5194C3A1AC}" presName="horzFour" presStyleCnt="0"/>
      <dgm:spPr/>
    </dgm:pt>
    <dgm:pt modelId="{F8945EA4-B54B-468A-B63E-45840BD57556}" type="pres">
      <dgm:prSet presAssocID="{50303AD9-76D4-40F1-92FB-4C94EF15F74F}" presName="vertFour" presStyleCnt="0">
        <dgm:presLayoutVars>
          <dgm:chPref val="3"/>
        </dgm:presLayoutVars>
      </dgm:prSet>
      <dgm:spPr/>
    </dgm:pt>
    <dgm:pt modelId="{498E8B4B-112E-4C48-AA0C-0A93AF64DB86}" type="pres">
      <dgm:prSet presAssocID="{50303AD9-76D4-40F1-92FB-4C94EF15F74F}" presName="txFour" presStyleLbl="node4" presStyleIdx="8" presStyleCnt="12">
        <dgm:presLayoutVars>
          <dgm:chPref val="3"/>
        </dgm:presLayoutVars>
      </dgm:prSet>
      <dgm:spPr/>
    </dgm:pt>
    <dgm:pt modelId="{4E487C47-E5F7-44ED-94A7-F8798CEF5A4C}" type="pres">
      <dgm:prSet presAssocID="{50303AD9-76D4-40F1-92FB-4C94EF15F74F}" presName="horzFour" presStyleCnt="0"/>
      <dgm:spPr/>
    </dgm:pt>
    <dgm:pt modelId="{C5FFAAD3-2047-40B9-81F1-61432167AC62}" type="pres">
      <dgm:prSet presAssocID="{F35956C8-AD39-4B6A-B6DE-D4EEB67A1DC7}" presName="sibSpaceFour" presStyleCnt="0"/>
      <dgm:spPr/>
    </dgm:pt>
    <dgm:pt modelId="{8106F50D-9E6A-4297-99AD-24E45ED931EC}" type="pres">
      <dgm:prSet presAssocID="{BF8A21FC-C2CD-4C25-9E92-FB50A7FF815B}" presName="vertFour" presStyleCnt="0">
        <dgm:presLayoutVars>
          <dgm:chPref val="3"/>
        </dgm:presLayoutVars>
      </dgm:prSet>
      <dgm:spPr/>
    </dgm:pt>
    <dgm:pt modelId="{EF3E5C27-2AED-4300-BC42-6B0E04D86765}" type="pres">
      <dgm:prSet presAssocID="{BF8A21FC-C2CD-4C25-9E92-FB50A7FF815B}" presName="txFour" presStyleLbl="node4" presStyleIdx="9" presStyleCnt="12">
        <dgm:presLayoutVars>
          <dgm:chPref val="3"/>
        </dgm:presLayoutVars>
      </dgm:prSet>
      <dgm:spPr/>
    </dgm:pt>
    <dgm:pt modelId="{E572E428-4BAA-40B8-899E-926D8205C6D8}" type="pres">
      <dgm:prSet presAssocID="{BF8A21FC-C2CD-4C25-9E92-FB50A7FF815B}" presName="horzFour" presStyleCnt="0"/>
      <dgm:spPr/>
    </dgm:pt>
    <dgm:pt modelId="{A6F439B6-F38F-4E4B-8876-B2C2D4438EF3}" type="pres">
      <dgm:prSet presAssocID="{052EC144-DEF2-450B-891C-60255130464E}" presName="sibSpaceFour" presStyleCnt="0"/>
      <dgm:spPr/>
    </dgm:pt>
    <dgm:pt modelId="{03BC0D2D-BCFF-43FD-B842-9A535026D76D}" type="pres">
      <dgm:prSet presAssocID="{FF545D1D-B148-4301-B72A-ED72035562DA}" presName="vertFour" presStyleCnt="0">
        <dgm:presLayoutVars>
          <dgm:chPref val="3"/>
        </dgm:presLayoutVars>
      </dgm:prSet>
      <dgm:spPr/>
    </dgm:pt>
    <dgm:pt modelId="{1FCEF47A-5290-466B-8FBA-055D887A939A}" type="pres">
      <dgm:prSet presAssocID="{FF545D1D-B148-4301-B72A-ED72035562DA}" presName="txFour" presStyleLbl="node4" presStyleIdx="10" presStyleCnt="12">
        <dgm:presLayoutVars>
          <dgm:chPref val="3"/>
        </dgm:presLayoutVars>
      </dgm:prSet>
      <dgm:spPr/>
    </dgm:pt>
    <dgm:pt modelId="{A5B040D4-214E-482E-845E-E8B3A0BB4B48}" type="pres">
      <dgm:prSet presAssocID="{FF545D1D-B148-4301-B72A-ED72035562DA}" presName="parTransFour" presStyleCnt="0"/>
      <dgm:spPr/>
    </dgm:pt>
    <dgm:pt modelId="{95FBCC70-D96D-4D3C-AF2C-BC6BDC0DB326}" type="pres">
      <dgm:prSet presAssocID="{FF545D1D-B148-4301-B72A-ED72035562DA}" presName="horzFour" presStyleCnt="0"/>
      <dgm:spPr/>
    </dgm:pt>
    <dgm:pt modelId="{A6295AAE-7F95-498F-AE88-F18965CFC468}" type="pres">
      <dgm:prSet presAssocID="{48E029B4-CCC2-409F-850C-59A32D69BF9A}" presName="vertFour" presStyleCnt="0">
        <dgm:presLayoutVars>
          <dgm:chPref val="3"/>
        </dgm:presLayoutVars>
      </dgm:prSet>
      <dgm:spPr/>
    </dgm:pt>
    <dgm:pt modelId="{506BE77E-9718-4F22-9258-BF56BABF942B}" type="pres">
      <dgm:prSet presAssocID="{48E029B4-CCC2-409F-850C-59A32D69BF9A}" presName="txFour" presStyleLbl="node4" presStyleIdx="11" presStyleCnt="12">
        <dgm:presLayoutVars>
          <dgm:chPref val="3"/>
        </dgm:presLayoutVars>
      </dgm:prSet>
      <dgm:spPr/>
    </dgm:pt>
    <dgm:pt modelId="{8AA176B0-933C-47B7-BAE1-26E1D16A0899}" type="pres">
      <dgm:prSet presAssocID="{48E029B4-CCC2-409F-850C-59A32D69BF9A}" presName="horzFour" presStyleCnt="0"/>
      <dgm:spPr/>
    </dgm:pt>
  </dgm:ptLst>
  <dgm:cxnLst>
    <dgm:cxn modelId="{32573806-ECAE-4224-AFC3-AF5FF2E93D9C}" type="presOf" srcId="{48E029B4-CCC2-409F-850C-59A32D69BF9A}" destId="{506BE77E-9718-4F22-9258-BF56BABF942B}" srcOrd="0" destOrd="0" presId="urn:microsoft.com/office/officeart/2005/8/layout/architecture"/>
    <dgm:cxn modelId="{ACE5730A-6935-4210-A8CF-FFD7316E2E45}" type="presOf" srcId="{5E3D20EF-A1D9-4622-A6A1-C9B5FF2BD515}" destId="{5D5B6D22-EDCE-4EB7-9392-4FCACCA2DDBE}" srcOrd="0" destOrd="0" presId="urn:microsoft.com/office/officeart/2005/8/layout/architecture"/>
    <dgm:cxn modelId="{0B92910F-3C63-4DF9-916E-939FD6C23463}" type="presOf" srcId="{5CABFB2F-18BE-43F7-B34F-23989EC7D752}" destId="{77A7248D-12DD-4800-80EE-FFE52B2BF620}" srcOrd="0" destOrd="0" presId="urn:microsoft.com/office/officeart/2005/8/layout/architecture"/>
    <dgm:cxn modelId="{C7A39413-13B7-4917-A4D2-895ACC305868}" srcId="{0A35EC5D-D336-45D6-A0E1-917796CAB019}" destId="{FF545D1D-B148-4301-B72A-ED72035562DA}" srcOrd="1" destOrd="0" parTransId="{361217A6-DCA0-45F8-8BC8-50DE0E01CA8B}" sibTransId="{83CE76D1-B1BD-49E3-A4A4-1982B033ADBF}"/>
    <dgm:cxn modelId="{AB9C351D-82D4-48EE-A4F9-C484142FF164}" srcId="{9EE83E31-5552-4C14-AD4F-4C5194C3A1AC}" destId="{BF8A21FC-C2CD-4C25-9E92-FB50A7FF815B}" srcOrd="1" destOrd="0" parTransId="{5EA67257-49ED-463A-912C-43DC5FA729A3}" sibTransId="{2263153B-4B17-457B-8A6D-9E48B0F974DA}"/>
    <dgm:cxn modelId="{A375BD1E-3069-40D2-9B88-E421D9FACE68}" type="presOf" srcId="{F614F0E6-CE19-4869-88FD-8A64D693C282}" destId="{05C7A7C6-A8DF-4D56-A7EC-9B33AF937D98}" srcOrd="0" destOrd="0" presId="urn:microsoft.com/office/officeart/2005/8/layout/architecture"/>
    <dgm:cxn modelId="{C1AD9C25-2767-4773-BBA0-A24E4BCE6F9F}" srcId="{5CABFB2F-18BE-43F7-B34F-23989EC7D752}" destId="{50787CEA-7436-4E60-8212-873ED94AA65A}" srcOrd="0" destOrd="0" parTransId="{D60CEA22-052A-4CDD-9CE3-702F13D35AF6}" sibTransId="{096734E9-5C08-4FB4-B404-FA129DB6C042}"/>
    <dgm:cxn modelId="{30E1E228-434F-434E-8D9A-9EAB439F9E5E}" type="presOf" srcId="{476B8C27-D82A-411D-887B-A5D10CB84E15}" destId="{B3C0F0B6-427F-4365-883E-F44A7D418F93}" srcOrd="0" destOrd="0" presId="urn:microsoft.com/office/officeart/2005/8/layout/architecture"/>
    <dgm:cxn modelId="{C036F02F-FBB5-491C-85E6-343A3275A73D}" type="presOf" srcId="{C1F60B1D-6A4C-49B5-9FE5-8E6C988E08D7}" destId="{C920CEF5-6DDA-4154-BFEF-12EED1B18761}" srcOrd="0" destOrd="0" presId="urn:microsoft.com/office/officeart/2005/8/layout/architecture"/>
    <dgm:cxn modelId="{D398653D-3A03-4FE2-B1E7-BA0F30ABFCB3}" srcId="{FF545D1D-B148-4301-B72A-ED72035562DA}" destId="{48E029B4-CCC2-409F-850C-59A32D69BF9A}" srcOrd="0" destOrd="0" parTransId="{FD67280A-8448-43FE-B044-31BB0A70211F}" sibTransId="{F2EE8EBF-4A87-426C-8326-D826A12858BE}"/>
    <dgm:cxn modelId="{BCE57342-FBAD-492C-B2A6-3F176F90B581}" srcId="{7ECAC806-65D5-42B6-95F5-A272625E902E}" destId="{F614F0E6-CE19-4869-88FD-8A64D693C282}" srcOrd="1" destOrd="0" parTransId="{1FFD6D64-3232-4A56-99E2-A8A312E21CDE}" sibTransId="{A2E9FA39-32CE-4CE3-B764-789AD892B40E}"/>
    <dgm:cxn modelId="{154F6743-01FA-4487-918D-BCD5FFA6C592}" srcId="{50787CEA-7436-4E60-8212-873ED94AA65A}" destId="{0A35EC5D-D336-45D6-A0E1-917796CAB019}" srcOrd="1" destOrd="0" parTransId="{D2D29532-C7D9-4E66-843D-DB42B992EA76}" sibTransId="{913B971E-D008-4D14-B369-0C6599DD4597}"/>
    <dgm:cxn modelId="{73B30E67-F24E-412A-BD7B-E61D147BB1F0}" srcId="{CE50EDAA-763F-4CE8-B418-81C294AC0E3B}" destId="{5CABFB2F-18BE-43F7-B34F-23989EC7D752}" srcOrd="0" destOrd="0" parTransId="{0AE36E03-1D3A-4A5A-9149-C1BD63C6B0BC}" sibTransId="{BF4F7A2D-4966-458E-B28E-B4DF8FC89CCE}"/>
    <dgm:cxn modelId="{C081566A-DED9-4E00-BC81-D80962FECBE5}" type="presOf" srcId="{FF545D1D-B148-4301-B72A-ED72035562DA}" destId="{1FCEF47A-5290-466B-8FBA-055D887A939A}" srcOrd="0" destOrd="0" presId="urn:microsoft.com/office/officeart/2005/8/layout/architecture"/>
    <dgm:cxn modelId="{A8BB2371-5F93-4D4F-B7CA-4D7901FC4B75}" srcId="{50787CEA-7436-4E60-8212-873ED94AA65A}" destId="{7ECAC806-65D5-42B6-95F5-A272625E902E}" srcOrd="0" destOrd="0" parTransId="{B477479E-B2B8-4285-9E4A-170BF8178A56}" sibTransId="{28AB5868-0E10-4B23-8FD1-8BC2C07345BD}"/>
    <dgm:cxn modelId="{471A4754-FEDB-4ED1-8B57-7ADA9F6D9D7C}" type="presOf" srcId="{BF8A21FC-C2CD-4C25-9E92-FB50A7FF815B}" destId="{EF3E5C27-2AED-4300-BC42-6B0E04D86765}" srcOrd="0" destOrd="0" presId="urn:microsoft.com/office/officeart/2005/8/layout/architecture"/>
    <dgm:cxn modelId="{F9068958-4C19-41FA-AF18-64520EE08676}" srcId="{9EE83E31-5552-4C14-AD4F-4C5194C3A1AC}" destId="{50303AD9-76D4-40F1-92FB-4C94EF15F74F}" srcOrd="0" destOrd="0" parTransId="{5B5BB7E4-4205-40AE-B561-5F7693918D75}" sibTransId="{F35956C8-AD39-4B6A-B6DE-D4EEB67A1DC7}"/>
    <dgm:cxn modelId="{AF5FC158-6E44-4F02-9F82-81E405798FEF}" type="presOf" srcId="{50303AD9-76D4-40F1-92FB-4C94EF15F74F}" destId="{498E8B4B-112E-4C48-AA0C-0A93AF64DB86}" srcOrd="0" destOrd="0" presId="urn:microsoft.com/office/officeart/2005/8/layout/architecture"/>
    <dgm:cxn modelId="{2818C379-7C87-45D2-9E57-4DB47E6F3A82}" srcId="{0A35EC5D-D336-45D6-A0E1-917796CAB019}" destId="{5E3D20EF-A1D9-4622-A6A1-C9B5FF2BD515}" srcOrd="0" destOrd="0" parTransId="{BE858912-A960-4335-A357-564D6C2FFF93}" sibTransId="{052EC144-DEF2-450B-891C-60255130464E}"/>
    <dgm:cxn modelId="{AED01C5A-911F-4FFC-BD5E-EA6C46066968}" type="presOf" srcId="{7ECAC806-65D5-42B6-95F5-A272625E902E}" destId="{670504ED-D533-41A5-B215-3AC86C8703A1}" srcOrd="0" destOrd="0" presId="urn:microsoft.com/office/officeart/2005/8/layout/architecture"/>
    <dgm:cxn modelId="{CE6F4283-EF4C-4EF4-B525-43530DEB5830}" type="presOf" srcId="{2D06292C-4259-4828-B1CA-9047FC051FD0}" destId="{9C06722C-6EE1-41DB-8E3A-08122AE43141}" srcOrd="0" destOrd="0" presId="urn:microsoft.com/office/officeart/2005/8/layout/architecture"/>
    <dgm:cxn modelId="{301C338B-6496-4502-8CD8-5AE4D6573E6A}" type="presOf" srcId="{4C0EAB30-EDDD-43B9-88BB-0F63B96C046C}" destId="{BA254C3A-AE19-463C-BF39-FA78DC0C375D}" srcOrd="0" destOrd="0" presId="urn:microsoft.com/office/officeart/2005/8/layout/architecture"/>
    <dgm:cxn modelId="{238DB292-2FA7-4C9E-898D-699C4DA348E6}" srcId="{5E3D20EF-A1D9-4622-A6A1-C9B5FF2BD515}" destId="{9EE83E31-5552-4C14-AD4F-4C5194C3A1AC}" srcOrd="0" destOrd="0" parTransId="{7E31DAD7-241E-4BDB-8302-CF1A8EBE7E68}" sibTransId="{FA0D0F67-0AF3-4538-9748-A7D19795C1AB}"/>
    <dgm:cxn modelId="{F49BED94-B506-4FD4-936C-1485805F01F8}" srcId="{2D06292C-4259-4828-B1CA-9047FC051FD0}" destId="{C1F60B1D-6A4C-49B5-9FE5-8E6C988E08D7}" srcOrd="0" destOrd="0" parTransId="{E2D6200B-497F-46B1-8901-C41E7A0EFA22}" sibTransId="{5F673325-14AA-43D7-A981-0B643FF03EE2}"/>
    <dgm:cxn modelId="{FBBFD3A5-AD65-42A2-8B10-80F7320B17A9}" srcId="{7ECAC806-65D5-42B6-95F5-A272625E902E}" destId="{4C0EAB30-EDDD-43B9-88BB-0F63B96C046C}" srcOrd="0" destOrd="0" parTransId="{1AC89A83-FCEC-4035-B1D7-5014A5F206A1}" sibTransId="{97883FFC-60D4-4BF0-B4FA-EB0ABE8EA0C3}"/>
    <dgm:cxn modelId="{C1A01BB1-D28A-4AE2-A32D-A6BCA2BD2D93}" srcId="{4C0EAB30-EDDD-43B9-88BB-0F63B96C046C}" destId="{2D06292C-4259-4828-B1CA-9047FC051FD0}" srcOrd="0" destOrd="0" parTransId="{B2A98ABE-B9AA-4B84-8AC8-3BA6FE8B5D64}" sibTransId="{DFE2B269-01B0-4574-A0B2-90ADF218F6A3}"/>
    <dgm:cxn modelId="{48C58FB4-23FD-49D1-BB63-5051BCFC6EA9}" srcId="{3E657125-A671-4F7C-A57A-6B6BFEA768C1}" destId="{476B8C27-D82A-411D-887B-A5D10CB84E15}" srcOrd="0" destOrd="0" parTransId="{9903C43E-7819-45CF-9702-2FB1088E4161}" sibTransId="{59C0576A-11D9-4E83-A282-4FAF007E90B9}"/>
    <dgm:cxn modelId="{3A2664C5-6103-48DB-B194-AF392537F8DE}" srcId="{F614F0E6-CE19-4869-88FD-8A64D693C282}" destId="{3E657125-A671-4F7C-A57A-6B6BFEA768C1}" srcOrd="0" destOrd="0" parTransId="{AA83FE5B-80E3-43ED-B261-45335B83A457}" sibTransId="{09070EA6-6A1A-42AE-8AC3-4685452570EA}"/>
    <dgm:cxn modelId="{CAF31FDA-8AD2-4DC3-8406-B90937F4A6B1}" type="presOf" srcId="{50787CEA-7436-4E60-8212-873ED94AA65A}" destId="{C4240A56-C612-41E9-9D0B-9A6B282BA87E}" srcOrd="0" destOrd="0" presId="urn:microsoft.com/office/officeart/2005/8/layout/architecture"/>
    <dgm:cxn modelId="{B83F99DC-3667-43AB-96B4-CDA6CACA132A}" type="presOf" srcId="{9EE83E31-5552-4C14-AD4F-4C5194C3A1AC}" destId="{37EEE7E1-BA9A-46A3-B460-2D20AFBC73B9}" srcOrd="0" destOrd="0" presId="urn:microsoft.com/office/officeart/2005/8/layout/architecture"/>
    <dgm:cxn modelId="{F8DE76E6-1A7A-4586-9E1A-2BF8BD2ED4B2}" type="presOf" srcId="{CE50EDAA-763F-4CE8-B418-81C294AC0E3B}" destId="{A8AEA952-565D-4699-8EE7-9915288F3A34}" srcOrd="0" destOrd="0" presId="urn:microsoft.com/office/officeart/2005/8/layout/architecture"/>
    <dgm:cxn modelId="{5067AEF1-16EA-45C9-B7AA-3B1DC33381DE}" type="presOf" srcId="{3E657125-A671-4F7C-A57A-6B6BFEA768C1}" destId="{26A87C7B-C01B-4F12-8FEB-CA6DD1935BC2}" srcOrd="0" destOrd="0" presId="urn:microsoft.com/office/officeart/2005/8/layout/architecture"/>
    <dgm:cxn modelId="{C3B9C8F3-F2CB-414D-B23D-59C2008156B2}" type="presOf" srcId="{0A35EC5D-D336-45D6-A0E1-917796CAB019}" destId="{9D1BD11B-7BD9-404E-9AD3-59AE0D2DA140}" srcOrd="0" destOrd="0" presId="urn:microsoft.com/office/officeart/2005/8/layout/architecture"/>
    <dgm:cxn modelId="{B50AF9F2-8DD3-4A82-915A-CB98DC8C901D}" type="presParOf" srcId="{A8AEA952-565D-4699-8EE7-9915288F3A34}" destId="{9CD28C12-AD59-4F48-BF9A-05EBF350F617}" srcOrd="0" destOrd="0" presId="urn:microsoft.com/office/officeart/2005/8/layout/architecture"/>
    <dgm:cxn modelId="{3ED7DEDA-DBA5-452B-AE17-06AAADBDF887}" type="presParOf" srcId="{9CD28C12-AD59-4F48-BF9A-05EBF350F617}" destId="{77A7248D-12DD-4800-80EE-FFE52B2BF620}" srcOrd="0" destOrd="0" presId="urn:microsoft.com/office/officeart/2005/8/layout/architecture"/>
    <dgm:cxn modelId="{F544E15A-DF66-448B-AA1A-BFF46BCECC0A}" type="presParOf" srcId="{9CD28C12-AD59-4F48-BF9A-05EBF350F617}" destId="{74843946-BF87-4F9F-8BE2-F32C83C1ABEE}" srcOrd="1" destOrd="0" presId="urn:microsoft.com/office/officeart/2005/8/layout/architecture"/>
    <dgm:cxn modelId="{4B7D15B7-FF27-4286-8C9E-F3E6003DC900}" type="presParOf" srcId="{9CD28C12-AD59-4F48-BF9A-05EBF350F617}" destId="{82146A2A-F37A-4B18-83A9-6695B1966611}" srcOrd="2" destOrd="0" presId="urn:microsoft.com/office/officeart/2005/8/layout/architecture"/>
    <dgm:cxn modelId="{DF336B3D-DA56-4C08-8F9D-14B53F7B8B93}" type="presParOf" srcId="{82146A2A-F37A-4B18-83A9-6695B1966611}" destId="{E1267A7D-9DF9-41D1-94E5-5255F51D47B6}" srcOrd="0" destOrd="0" presId="urn:microsoft.com/office/officeart/2005/8/layout/architecture"/>
    <dgm:cxn modelId="{0770548B-B39F-4B64-A8A5-1062AAABBD7D}" type="presParOf" srcId="{E1267A7D-9DF9-41D1-94E5-5255F51D47B6}" destId="{C4240A56-C612-41E9-9D0B-9A6B282BA87E}" srcOrd="0" destOrd="0" presId="urn:microsoft.com/office/officeart/2005/8/layout/architecture"/>
    <dgm:cxn modelId="{46951856-2F27-476D-B0C0-B8EE5FB63FCF}" type="presParOf" srcId="{E1267A7D-9DF9-41D1-94E5-5255F51D47B6}" destId="{1AA851AC-EE60-4C8D-AD54-F4CE48B724A2}" srcOrd="1" destOrd="0" presId="urn:microsoft.com/office/officeart/2005/8/layout/architecture"/>
    <dgm:cxn modelId="{9E35D8DF-5331-4B91-93E9-5942672D19C6}" type="presParOf" srcId="{E1267A7D-9DF9-41D1-94E5-5255F51D47B6}" destId="{4CBE5A18-D76B-4620-8AD4-6AB9A3A3568A}" srcOrd="2" destOrd="0" presId="urn:microsoft.com/office/officeart/2005/8/layout/architecture"/>
    <dgm:cxn modelId="{42D38BA5-3BF5-44F8-883D-74FBE9671918}" type="presParOf" srcId="{4CBE5A18-D76B-4620-8AD4-6AB9A3A3568A}" destId="{EEDB93D3-4D5F-4E94-ACE6-231BAF2ED66D}" srcOrd="0" destOrd="0" presId="urn:microsoft.com/office/officeart/2005/8/layout/architecture"/>
    <dgm:cxn modelId="{48691830-11BB-47B0-818B-55F1678D7890}" type="presParOf" srcId="{EEDB93D3-4D5F-4E94-ACE6-231BAF2ED66D}" destId="{670504ED-D533-41A5-B215-3AC86C8703A1}" srcOrd="0" destOrd="0" presId="urn:microsoft.com/office/officeart/2005/8/layout/architecture"/>
    <dgm:cxn modelId="{1967393F-A9DD-43AC-BB65-813FAE8C5F13}" type="presParOf" srcId="{EEDB93D3-4D5F-4E94-ACE6-231BAF2ED66D}" destId="{EDCC63AC-BAE6-4EB4-B62A-B13741FA46F2}" srcOrd="1" destOrd="0" presId="urn:microsoft.com/office/officeart/2005/8/layout/architecture"/>
    <dgm:cxn modelId="{3EDB1A90-EB4C-4EDE-9535-91E6FC969FB3}" type="presParOf" srcId="{EEDB93D3-4D5F-4E94-ACE6-231BAF2ED66D}" destId="{11B1C312-A86A-470B-876F-11FCC3CE8ECF}" srcOrd="2" destOrd="0" presId="urn:microsoft.com/office/officeart/2005/8/layout/architecture"/>
    <dgm:cxn modelId="{E846E3EF-631C-4178-A0C0-F1C575580F3E}" type="presParOf" srcId="{11B1C312-A86A-470B-876F-11FCC3CE8ECF}" destId="{CF75782B-6014-467C-B894-046C0C901512}" srcOrd="0" destOrd="0" presId="urn:microsoft.com/office/officeart/2005/8/layout/architecture"/>
    <dgm:cxn modelId="{52F13814-CCA5-4E15-BD66-128BBA9A0F74}" type="presParOf" srcId="{CF75782B-6014-467C-B894-046C0C901512}" destId="{BA254C3A-AE19-463C-BF39-FA78DC0C375D}" srcOrd="0" destOrd="0" presId="urn:microsoft.com/office/officeart/2005/8/layout/architecture"/>
    <dgm:cxn modelId="{BAE88ACA-C3E7-457E-8FC0-2EE2E1C565B4}" type="presParOf" srcId="{CF75782B-6014-467C-B894-046C0C901512}" destId="{25B54D69-3478-4609-AD18-E51867AFF713}" srcOrd="1" destOrd="0" presId="urn:microsoft.com/office/officeart/2005/8/layout/architecture"/>
    <dgm:cxn modelId="{EFDAF249-1C8E-4352-BA1B-4DBEB3BED382}" type="presParOf" srcId="{CF75782B-6014-467C-B894-046C0C901512}" destId="{5975838B-853D-44F4-A75A-19E1D1F008F9}" srcOrd="2" destOrd="0" presId="urn:microsoft.com/office/officeart/2005/8/layout/architecture"/>
    <dgm:cxn modelId="{F36C5837-C975-4896-922E-C8242EFDEAAB}" type="presParOf" srcId="{5975838B-853D-44F4-A75A-19E1D1F008F9}" destId="{A0D1BEC7-2160-4F2F-9FB3-153D79ABDD56}" srcOrd="0" destOrd="0" presId="urn:microsoft.com/office/officeart/2005/8/layout/architecture"/>
    <dgm:cxn modelId="{BA15C218-F127-42D1-B799-1CE9B30BB661}" type="presParOf" srcId="{A0D1BEC7-2160-4F2F-9FB3-153D79ABDD56}" destId="{9C06722C-6EE1-41DB-8E3A-08122AE43141}" srcOrd="0" destOrd="0" presId="urn:microsoft.com/office/officeart/2005/8/layout/architecture"/>
    <dgm:cxn modelId="{92207615-607A-41A4-95A2-FB4517B08B03}" type="presParOf" srcId="{A0D1BEC7-2160-4F2F-9FB3-153D79ABDD56}" destId="{CC9EED9B-BE3C-4011-8191-C6F57B88AA13}" srcOrd="1" destOrd="0" presId="urn:microsoft.com/office/officeart/2005/8/layout/architecture"/>
    <dgm:cxn modelId="{E000FF44-1998-480E-9FBA-ED0564D2A7B9}" type="presParOf" srcId="{A0D1BEC7-2160-4F2F-9FB3-153D79ABDD56}" destId="{834BEABC-571F-497A-8F1D-1DA0C88ACBD0}" srcOrd="2" destOrd="0" presId="urn:microsoft.com/office/officeart/2005/8/layout/architecture"/>
    <dgm:cxn modelId="{B4CCF0BD-F3E1-4706-9AEE-16F521313E6A}" type="presParOf" srcId="{834BEABC-571F-497A-8F1D-1DA0C88ACBD0}" destId="{757923D9-2EC0-40B6-B9D7-F17BC0A8DD29}" srcOrd="0" destOrd="0" presId="urn:microsoft.com/office/officeart/2005/8/layout/architecture"/>
    <dgm:cxn modelId="{61E2B7CC-B9C0-4D37-B3EF-221C0879AC0D}" type="presParOf" srcId="{757923D9-2EC0-40B6-B9D7-F17BC0A8DD29}" destId="{C920CEF5-6DDA-4154-BFEF-12EED1B18761}" srcOrd="0" destOrd="0" presId="urn:microsoft.com/office/officeart/2005/8/layout/architecture"/>
    <dgm:cxn modelId="{3E035790-EC80-44D5-B80F-7E225EF44914}" type="presParOf" srcId="{757923D9-2EC0-40B6-B9D7-F17BC0A8DD29}" destId="{193560A2-4A9D-4CAC-A68B-CA6A02E54C10}" srcOrd="1" destOrd="0" presId="urn:microsoft.com/office/officeart/2005/8/layout/architecture"/>
    <dgm:cxn modelId="{864E3997-1ACC-4D11-A300-654BCD6785D2}" type="presParOf" srcId="{11B1C312-A86A-470B-876F-11FCC3CE8ECF}" destId="{40663D6C-8364-4056-A47F-F3169560D2E3}" srcOrd="1" destOrd="0" presId="urn:microsoft.com/office/officeart/2005/8/layout/architecture"/>
    <dgm:cxn modelId="{7BF12339-BF35-481F-B7D5-68E63BF19B34}" type="presParOf" srcId="{11B1C312-A86A-470B-876F-11FCC3CE8ECF}" destId="{21CF4778-5E84-4A85-8969-BACB2793E079}" srcOrd="2" destOrd="0" presId="urn:microsoft.com/office/officeart/2005/8/layout/architecture"/>
    <dgm:cxn modelId="{769DEBF4-E9DE-4FC4-87B6-37C5520627FF}" type="presParOf" srcId="{21CF4778-5E84-4A85-8969-BACB2793E079}" destId="{05C7A7C6-A8DF-4D56-A7EC-9B33AF937D98}" srcOrd="0" destOrd="0" presId="urn:microsoft.com/office/officeart/2005/8/layout/architecture"/>
    <dgm:cxn modelId="{A25E417A-3B78-42C2-9131-AF9B1C423D34}" type="presParOf" srcId="{21CF4778-5E84-4A85-8969-BACB2793E079}" destId="{78CDC9BF-E4A1-408C-94C2-296297166C54}" srcOrd="1" destOrd="0" presId="urn:microsoft.com/office/officeart/2005/8/layout/architecture"/>
    <dgm:cxn modelId="{757C7226-60D4-4735-9524-5C31388C2CD6}" type="presParOf" srcId="{21CF4778-5E84-4A85-8969-BACB2793E079}" destId="{5F8BBD7C-4C89-4811-A1F4-B7A9497E0809}" srcOrd="2" destOrd="0" presId="urn:microsoft.com/office/officeart/2005/8/layout/architecture"/>
    <dgm:cxn modelId="{C5D9953E-8AAB-4AA4-842B-42E2C4E1410A}" type="presParOf" srcId="{5F8BBD7C-4C89-4811-A1F4-B7A9497E0809}" destId="{E73BFF39-5160-4BAC-B7A9-1585760C903F}" srcOrd="0" destOrd="0" presId="urn:microsoft.com/office/officeart/2005/8/layout/architecture"/>
    <dgm:cxn modelId="{A78EE875-806E-4189-B5D9-96D3F2097EDD}" type="presParOf" srcId="{E73BFF39-5160-4BAC-B7A9-1585760C903F}" destId="{26A87C7B-C01B-4F12-8FEB-CA6DD1935BC2}" srcOrd="0" destOrd="0" presId="urn:microsoft.com/office/officeart/2005/8/layout/architecture"/>
    <dgm:cxn modelId="{8793461E-9EF0-4E64-9478-71637162C7A7}" type="presParOf" srcId="{E73BFF39-5160-4BAC-B7A9-1585760C903F}" destId="{B850C9C7-9722-4108-A4F3-545042FDAC76}" srcOrd="1" destOrd="0" presId="urn:microsoft.com/office/officeart/2005/8/layout/architecture"/>
    <dgm:cxn modelId="{865600D8-2407-4C08-A437-F95AD0A395E3}" type="presParOf" srcId="{E73BFF39-5160-4BAC-B7A9-1585760C903F}" destId="{E0EAADF9-7DE7-4106-818D-42BC50B73AAA}" srcOrd="2" destOrd="0" presId="urn:microsoft.com/office/officeart/2005/8/layout/architecture"/>
    <dgm:cxn modelId="{04619933-3A19-477F-B080-38D6627E1472}" type="presParOf" srcId="{E0EAADF9-7DE7-4106-818D-42BC50B73AAA}" destId="{CE19B5B3-4A20-4AA2-9F3E-5516B5D67491}" srcOrd="0" destOrd="0" presId="urn:microsoft.com/office/officeart/2005/8/layout/architecture"/>
    <dgm:cxn modelId="{22FCF181-8104-4D8F-BA44-DAEA86707C78}" type="presParOf" srcId="{CE19B5B3-4A20-4AA2-9F3E-5516B5D67491}" destId="{B3C0F0B6-427F-4365-883E-F44A7D418F93}" srcOrd="0" destOrd="0" presId="urn:microsoft.com/office/officeart/2005/8/layout/architecture"/>
    <dgm:cxn modelId="{EA61EAFC-659B-44A4-AC28-1FD3AF566C2C}" type="presParOf" srcId="{CE19B5B3-4A20-4AA2-9F3E-5516B5D67491}" destId="{1B994FA3-4D72-4555-A06E-DC48FD56B22D}" srcOrd="1" destOrd="0" presId="urn:microsoft.com/office/officeart/2005/8/layout/architecture"/>
    <dgm:cxn modelId="{A174FF1D-B29E-461C-86F9-C180614211BF}" type="presParOf" srcId="{4CBE5A18-D76B-4620-8AD4-6AB9A3A3568A}" destId="{D0D9924F-2C65-4EE9-9EAE-D3C8D3854A28}" srcOrd="1" destOrd="0" presId="urn:microsoft.com/office/officeart/2005/8/layout/architecture"/>
    <dgm:cxn modelId="{22FE283F-BDAA-4020-9C9E-658DDE78DFBB}" type="presParOf" srcId="{4CBE5A18-D76B-4620-8AD4-6AB9A3A3568A}" destId="{2BD03152-B2CC-478E-BF3C-0AE6B20789C2}" srcOrd="2" destOrd="0" presId="urn:microsoft.com/office/officeart/2005/8/layout/architecture"/>
    <dgm:cxn modelId="{06CBD137-5A0F-4E01-8D25-FA36233FE18F}" type="presParOf" srcId="{2BD03152-B2CC-478E-BF3C-0AE6B20789C2}" destId="{9D1BD11B-7BD9-404E-9AD3-59AE0D2DA140}" srcOrd="0" destOrd="0" presId="urn:microsoft.com/office/officeart/2005/8/layout/architecture"/>
    <dgm:cxn modelId="{99222726-36FF-40A7-817B-76F91A7B2715}" type="presParOf" srcId="{2BD03152-B2CC-478E-BF3C-0AE6B20789C2}" destId="{343533DD-743D-4C0B-9DD7-9C6B77F35B4B}" srcOrd="1" destOrd="0" presId="urn:microsoft.com/office/officeart/2005/8/layout/architecture"/>
    <dgm:cxn modelId="{201A02CC-702B-4E7A-AA96-75E16BB85A39}" type="presParOf" srcId="{2BD03152-B2CC-478E-BF3C-0AE6B20789C2}" destId="{7A709EAB-AA2B-4472-BE7F-22688105E34D}" srcOrd="2" destOrd="0" presId="urn:microsoft.com/office/officeart/2005/8/layout/architecture"/>
    <dgm:cxn modelId="{A674156D-E3A6-4D0D-994D-01E9FB9D4084}" type="presParOf" srcId="{7A709EAB-AA2B-4472-BE7F-22688105E34D}" destId="{437FD263-5710-4AF9-BD0C-88915D74A1E8}" srcOrd="0" destOrd="0" presId="urn:microsoft.com/office/officeart/2005/8/layout/architecture"/>
    <dgm:cxn modelId="{48AAFBEC-3B74-4A43-A73F-47788FA15EE4}" type="presParOf" srcId="{437FD263-5710-4AF9-BD0C-88915D74A1E8}" destId="{5D5B6D22-EDCE-4EB7-9392-4FCACCA2DDBE}" srcOrd="0" destOrd="0" presId="urn:microsoft.com/office/officeart/2005/8/layout/architecture"/>
    <dgm:cxn modelId="{394ECA09-4C99-406A-80EC-95626FB86D92}" type="presParOf" srcId="{437FD263-5710-4AF9-BD0C-88915D74A1E8}" destId="{22C22058-1046-44AF-AD86-239DE8C4AC86}" srcOrd="1" destOrd="0" presId="urn:microsoft.com/office/officeart/2005/8/layout/architecture"/>
    <dgm:cxn modelId="{202406C5-5E5E-415F-829A-CB75F67D04A8}" type="presParOf" srcId="{437FD263-5710-4AF9-BD0C-88915D74A1E8}" destId="{F36087D5-FE8F-4098-998C-CAA17CC7F291}" srcOrd="2" destOrd="0" presId="urn:microsoft.com/office/officeart/2005/8/layout/architecture"/>
    <dgm:cxn modelId="{61CB16DC-9A78-435A-A471-A9CC2D1CAAB1}" type="presParOf" srcId="{F36087D5-FE8F-4098-998C-CAA17CC7F291}" destId="{A1CCAA3F-0167-49EC-B6AC-0A9BF52A48ED}" srcOrd="0" destOrd="0" presId="urn:microsoft.com/office/officeart/2005/8/layout/architecture"/>
    <dgm:cxn modelId="{32FA900C-66A0-423A-941A-F2385EA7A735}" type="presParOf" srcId="{A1CCAA3F-0167-49EC-B6AC-0A9BF52A48ED}" destId="{37EEE7E1-BA9A-46A3-B460-2D20AFBC73B9}" srcOrd="0" destOrd="0" presId="urn:microsoft.com/office/officeart/2005/8/layout/architecture"/>
    <dgm:cxn modelId="{8CFCD461-D206-469B-8B5F-6B434934D26C}" type="presParOf" srcId="{A1CCAA3F-0167-49EC-B6AC-0A9BF52A48ED}" destId="{6F8B00CD-CB4B-4E8A-815B-42E8F9EAA2F0}" srcOrd="1" destOrd="0" presId="urn:microsoft.com/office/officeart/2005/8/layout/architecture"/>
    <dgm:cxn modelId="{8C1B7441-B7E4-4BA6-9C0C-91A020E1C21C}" type="presParOf" srcId="{A1CCAA3F-0167-49EC-B6AC-0A9BF52A48ED}" destId="{671976CC-B093-4477-8520-AEED9E090075}" srcOrd="2" destOrd="0" presId="urn:microsoft.com/office/officeart/2005/8/layout/architecture"/>
    <dgm:cxn modelId="{B5080603-B89A-47CF-8981-B0F8D26240A3}" type="presParOf" srcId="{671976CC-B093-4477-8520-AEED9E090075}" destId="{F8945EA4-B54B-468A-B63E-45840BD57556}" srcOrd="0" destOrd="0" presId="urn:microsoft.com/office/officeart/2005/8/layout/architecture"/>
    <dgm:cxn modelId="{82091C76-DA36-4273-BE0E-D86A46BA24A3}" type="presParOf" srcId="{F8945EA4-B54B-468A-B63E-45840BD57556}" destId="{498E8B4B-112E-4C48-AA0C-0A93AF64DB86}" srcOrd="0" destOrd="0" presId="urn:microsoft.com/office/officeart/2005/8/layout/architecture"/>
    <dgm:cxn modelId="{57C976CB-F537-453A-B5F1-2F8380F9E717}" type="presParOf" srcId="{F8945EA4-B54B-468A-B63E-45840BD57556}" destId="{4E487C47-E5F7-44ED-94A7-F8798CEF5A4C}" srcOrd="1" destOrd="0" presId="urn:microsoft.com/office/officeart/2005/8/layout/architecture"/>
    <dgm:cxn modelId="{9D8D6424-35B4-4DD8-BACD-BA3A4016DBE4}" type="presParOf" srcId="{671976CC-B093-4477-8520-AEED9E090075}" destId="{C5FFAAD3-2047-40B9-81F1-61432167AC62}" srcOrd="1" destOrd="0" presId="urn:microsoft.com/office/officeart/2005/8/layout/architecture"/>
    <dgm:cxn modelId="{08EE5892-E962-42DB-BAD6-6D3149C8A365}" type="presParOf" srcId="{671976CC-B093-4477-8520-AEED9E090075}" destId="{8106F50D-9E6A-4297-99AD-24E45ED931EC}" srcOrd="2" destOrd="0" presId="urn:microsoft.com/office/officeart/2005/8/layout/architecture"/>
    <dgm:cxn modelId="{0D0378CA-5ABB-425D-A550-93120A4CA0C7}" type="presParOf" srcId="{8106F50D-9E6A-4297-99AD-24E45ED931EC}" destId="{EF3E5C27-2AED-4300-BC42-6B0E04D86765}" srcOrd="0" destOrd="0" presId="urn:microsoft.com/office/officeart/2005/8/layout/architecture"/>
    <dgm:cxn modelId="{F2E394FE-D0D1-4DFF-9F44-CD1960E8276E}" type="presParOf" srcId="{8106F50D-9E6A-4297-99AD-24E45ED931EC}" destId="{E572E428-4BAA-40B8-899E-926D8205C6D8}" srcOrd="1" destOrd="0" presId="urn:microsoft.com/office/officeart/2005/8/layout/architecture"/>
    <dgm:cxn modelId="{7409D636-398C-42FE-8762-4490B3238B3F}" type="presParOf" srcId="{7A709EAB-AA2B-4472-BE7F-22688105E34D}" destId="{A6F439B6-F38F-4E4B-8876-B2C2D4438EF3}" srcOrd="1" destOrd="0" presId="urn:microsoft.com/office/officeart/2005/8/layout/architecture"/>
    <dgm:cxn modelId="{153A4AA8-342D-42AF-A665-A03ADD90CEAD}" type="presParOf" srcId="{7A709EAB-AA2B-4472-BE7F-22688105E34D}" destId="{03BC0D2D-BCFF-43FD-B842-9A535026D76D}" srcOrd="2" destOrd="0" presId="urn:microsoft.com/office/officeart/2005/8/layout/architecture"/>
    <dgm:cxn modelId="{4CD2361A-58DF-447D-982E-07AF3F187EFD}" type="presParOf" srcId="{03BC0D2D-BCFF-43FD-B842-9A535026D76D}" destId="{1FCEF47A-5290-466B-8FBA-055D887A939A}" srcOrd="0" destOrd="0" presId="urn:microsoft.com/office/officeart/2005/8/layout/architecture"/>
    <dgm:cxn modelId="{84A27BE6-3BD6-4BC4-A4E9-38C13E05D41E}" type="presParOf" srcId="{03BC0D2D-BCFF-43FD-B842-9A535026D76D}" destId="{A5B040D4-214E-482E-845E-E8B3A0BB4B48}" srcOrd="1" destOrd="0" presId="urn:microsoft.com/office/officeart/2005/8/layout/architecture"/>
    <dgm:cxn modelId="{FEA2560A-E16C-46A7-B6A0-222AA88253EC}" type="presParOf" srcId="{03BC0D2D-BCFF-43FD-B842-9A535026D76D}" destId="{95FBCC70-D96D-4D3C-AF2C-BC6BDC0DB326}" srcOrd="2" destOrd="0" presId="urn:microsoft.com/office/officeart/2005/8/layout/architecture"/>
    <dgm:cxn modelId="{6C2AA08C-9480-4E64-8199-195C43B12B0E}" type="presParOf" srcId="{95FBCC70-D96D-4D3C-AF2C-BC6BDC0DB326}" destId="{A6295AAE-7F95-498F-AE88-F18965CFC468}" srcOrd="0" destOrd="0" presId="urn:microsoft.com/office/officeart/2005/8/layout/architecture"/>
    <dgm:cxn modelId="{241A0393-ADD3-4172-B65D-FB0E54ED37E8}" type="presParOf" srcId="{A6295AAE-7F95-498F-AE88-F18965CFC468}" destId="{506BE77E-9718-4F22-9258-BF56BABF942B}" srcOrd="0" destOrd="0" presId="urn:microsoft.com/office/officeart/2005/8/layout/architecture"/>
    <dgm:cxn modelId="{D70F47B4-CCAA-4229-8055-645AEB9D3221}" type="presParOf" srcId="{A6295AAE-7F95-498F-AE88-F18965CFC468}" destId="{8AA176B0-933C-47B7-BAE1-26E1D16A0899}"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2137" y="3331371"/>
          <a:ext cx="9777034"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19251" y="3348485"/>
        <a:ext cx="9742806" cy="550071"/>
      </dsp:txXfrm>
    </dsp:sp>
    <dsp:sp modelId="{C4240A56-C612-41E9-9D0B-9A6B282BA87E}">
      <dsp:nvSpPr>
        <dsp:cNvPr id="0" name=""/>
        <dsp:cNvSpPr/>
      </dsp:nvSpPr>
      <dsp:spPr>
        <a:xfrm>
          <a:off x="2137" y="2665363"/>
          <a:ext cx="9777034"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19251" y="2682477"/>
        <a:ext cx="9742806" cy="550071"/>
      </dsp:txXfrm>
    </dsp:sp>
    <dsp:sp modelId="{670504ED-D533-41A5-B215-3AC86C8703A1}">
      <dsp:nvSpPr>
        <dsp:cNvPr id="0" name=""/>
        <dsp:cNvSpPr/>
      </dsp:nvSpPr>
      <dsp:spPr>
        <a:xfrm>
          <a:off x="2137" y="1999356"/>
          <a:ext cx="3870594"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19251" y="2016470"/>
        <a:ext cx="3836366" cy="550071"/>
      </dsp:txXfrm>
    </dsp:sp>
    <dsp:sp modelId="{BA254C3A-AE19-463C-BF39-FA78DC0C375D}">
      <dsp:nvSpPr>
        <dsp:cNvPr id="0" name=""/>
        <dsp:cNvSpPr/>
      </dsp:nvSpPr>
      <dsp:spPr>
        <a:xfrm>
          <a:off x="2137"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users</a:t>
          </a:r>
          <a:endParaRPr lang="vi-VN" sz="2000" kern="1200"/>
        </a:p>
      </dsp:txBody>
      <dsp:txXfrm>
        <a:off x="19251" y="1350462"/>
        <a:ext cx="1880959" cy="550071"/>
      </dsp:txXfrm>
    </dsp:sp>
    <dsp:sp modelId="{9C06722C-6EE1-41DB-8E3A-08122AE43141}">
      <dsp:nvSpPr>
        <dsp:cNvPr id="0" name=""/>
        <dsp:cNvSpPr/>
      </dsp:nvSpPr>
      <dsp:spPr>
        <a:xfrm>
          <a:off x="2137"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user</a:t>
          </a:r>
          <a:endParaRPr lang="vi-VN" sz="2000" kern="1200"/>
        </a:p>
      </dsp:txBody>
      <dsp:txXfrm>
        <a:off x="19251" y="684455"/>
        <a:ext cx="1880959" cy="550071"/>
      </dsp:txXfrm>
    </dsp:sp>
    <dsp:sp modelId="{C920CEF5-6DDA-4154-BFEF-12EED1B18761}">
      <dsp:nvSpPr>
        <dsp:cNvPr id="0" name=""/>
        <dsp:cNvSpPr/>
      </dsp:nvSpPr>
      <dsp:spPr>
        <a:xfrm>
          <a:off x="2137"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user</a:t>
          </a:r>
          <a:endParaRPr lang="vi-VN" sz="2000" kern="1200"/>
        </a:p>
      </dsp:txBody>
      <dsp:txXfrm>
        <a:off x="19251" y="18447"/>
        <a:ext cx="1880959" cy="550071"/>
      </dsp:txXfrm>
    </dsp:sp>
    <dsp:sp modelId="{05C7A7C6-A8DF-4D56-A7EC-9B33AF937D98}">
      <dsp:nvSpPr>
        <dsp:cNvPr id="0" name=""/>
        <dsp:cNvSpPr/>
      </dsp:nvSpPr>
      <dsp:spPr>
        <a:xfrm>
          <a:off x="1957544" y="1333348"/>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activity</a:t>
          </a:r>
          <a:endParaRPr lang="vi-VN" sz="2000" kern="1200"/>
        </a:p>
      </dsp:txBody>
      <dsp:txXfrm>
        <a:off x="1974658" y="1350462"/>
        <a:ext cx="1880959" cy="550071"/>
      </dsp:txXfrm>
    </dsp:sp>
    <dsp:sp modelId="{26A87C7B-C01B-4F12-8FEB-CA6DD1935BC2}">
      <dsp:nvSpPr>
        <dsp:cNvPr id="0" name=""/>
        <dsp:cNvSpPr/>
      </dsp:nvSpPr>
      <dsp:spPr>
        <a:xfrm>
          <a:off x="1957544"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1974658" y="684455"/>
        <a:ext cx="1880959" cy="550071"/>
      </dsp:txXfrm>
    </dsp:sp>
    <dsp:sp modelId="{B3C0F0B6-427F-4365-883E-F44A7D418F93}">
      <dsp:nvSpPr>
        <dsp:cNvPr id="0" name=""/>
        <dsp:cNvSpPr/>
      </dsp:nvSpPr>
      <dsp:spPr>
        <a:xfrm>
          <a:off x="1957544"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activity</a:t>
          </a:r>
          <a:endParaRPr lang="vi-VN" sz="2000" kern="1200"/>
        </a:p>
      </dsp:txBody>
      <dsp:txXfrm>
        <a:off x="1974658" y="18447"/>
        <a:ext cx="1880959" cy="550071"/>
      </dsp:txXfrm>
    </dsp:sp>
    <dsp:sp modelId="{9D1BD11B-7BD9-404E-9AD3-59AE0D2DA140}">
      <dsp:nvSpPr>
        <dsp:cNvPr id="0" name=""/>
        <dsp:cNvSpPr/>
      </dsp:nvSpPr>
      <dsp:spPr>
        <a:xfrm>
          <a:off x="3953170" y="1999356"/>
          <a:ext cx="582600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3970284" y="2016470"/>
        <a:ext cx="5791773" cy="550071"/>
      </dsp:txXfrm>
    </dsp:sp>
    <dsp:sp modelId="{5D5B6D22-EDCE-4EB7-9392-4FCACCA2DDBE}">
      <dsp:nvSpPr>
        <dsp:cNvPr id="0" name=""/>
        <dsp:cNvSpPr/>
      </dsp:nvSpPr>
      <dsp:spPr>
        <a:xfrm>
          <a:off x="3953170" y="1333348"/>
          <a:ext cx="3870594"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ist activity</a:t>
          </a:r>
          <a:endParaRPr lang="vi-VN" sz="2000" kern="1200"/>
        </a:p>
      </dsp:txBody>
      <dsp:txXfrm>
        <a:off x="3970284" y="1350462"/>
        <a:ext cx="3836366" cy="550071"/>
      </dsp:txXfrm>
    </dsp:sp>
    <dsp:sp modelId="{37EEE7E1-BA9A-46A3-B460-2D20AFBC73B9}">
      <dsp:nvSpPr>
        <dsp:cNvPr id="0" name=""/>
        <dsp:cNvSpPr/>
      </dsp:nvSpPr>
      <dsp:spPr>
        <a:xfrm>
          <a:off x="3953170" y="667341"/>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3970284" y="684455"/>
        <a:ext cx="3836366" cy="550071"/>
      </dsp:txXfrm>
    </dsp:sp>
    <dsp:sp modelId="{498E8B4B-112E-4C48-AA0C-0A93AF64DB86}">
      <dsp:nvSpPr>
        <dsp:cNvPr id="0" name=""/>
        <dsp:cNvSpPr/>
      </dsp:nvSpPr>
      <dsp:spPr>
        <a:xfrm>
          <a:off x="3953170"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up</a:t>
          </a:r>
          <a:endParaRPr lang="vi-VN" sz="2000" kern="1200"/>
        </a:p>
      </dsp:txBody>
      <dsp:txXfrm>
        <a:off x="3970284" y="18447"/>
        <a:ext cx="1880959" cy="550071"/>
      </dsp:txXfrm>
    </dsp:sp>
    <dsp:sp modelId="{EF3E5C27-2AED-4300-BC42-6B0E04D86765}">
      <dsp:nvSpPr>
        <dsp:cNvPr id="0" name=""/>
        <dsp:cNvSpPr/>
      </dsp:nvSpPr>
      <dsp:spPr>
        <a:xfrm>
          <a:off x="5908576"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out</a:t>
          </a:r>
          <a:endParaRPr lang="vi-VN" sz="2000" kern="1200"/>
        </a:p>
      </dsp:txBody>
      <dsp:txXfrm>
        <a:off x="5925690" y="18447"/>
        <a:ext cx="1880959" cy="550071"/>
      </dsp:txXfrm>
    </dsp:sp>
    <dsp:sp modelId="{1FCEF47A-5290-466B-8FBA-055D887A939A}">
      <dsp:nvSpPr>
        <dsp:cNvPr id="0" name=""/>
        <dsp:cNvSpPr/>
      </dsp:nvSpPr>
      <dsp:spPr>
        <a:xfrm>
          <a:off x="7863983"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profile</a:t>
          </a:r>
          <a:endParaRPr lang="vi-VN" sz="2000" kern="1200"/>
        </a:p>
      </dsp:txBody>
      <dsp:txXfrm>
        <a:off x="7881097" y="1350462"/>
        <a:ext cx="1880959" cy="550071"/>
      </dsp:txXfrm>
    </dsp:sp>
    <dsp:sp modelId="{506BE77E-9718-4F22-9258-BF56BABF942B}">
      <dsp:nvSpPr>
        <dsp:cNvPr id="0" name=""/>
        <dsp:cNvSpPr/>
      </dsp:nvSpPr>
      <dsp:spPr>
        <a:xfrm>
          <a:off x="7863983"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profile</a:t>
          </a:r>
          <a:endParaRPr lang="vi-VN" sz="2000" kern="1200"/>
        </a:p>
      </dsp:txBody>
      <dsp:txXfrm>
        <a:off x="7881097" y="684455"/>
        <a:ext cx="1880959" cy="5500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4575" y="3331371"/>
          <a:ext cx="9772158"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21689" y="3348485"/>
        <a:ext cx="9737930" cy="550071"/>
      </dsp:txXfrm>
    </dsp:sp>
    <dsp:sp modelId="{C4240A56-C612-41E9-9D0B-9A6B282BA87E}">
      <dsp:nvSpPr>
        <dsp:cNvPr id="0" name=""/>
        <dsp:cNvSpPr/>
      </dsp:nvSpPr>
      <dsp:spPr>
        <a:xfrm>
          <a:off x="4575" y="2665363"/>
          <a:ext cx="9772158"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21689" y="2682477"/>
        <a:ext cx="9737930" cy="550071"/>
      </dsp:txXfrm>
    </dsp:sp>
    <dsp:sp modelId="{670504ED-D533-41A5-B215-3AC86C8703A1}">
      <dsp:nvSpPr>
        <dsp:cNvPr id="0" name=""/>
        <dsp:cNvSpPr/>
      </dsp:nvSpPr>
      <dsp:spPr>
        <a:xfrm>
          <a:off x="4575"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21689" y="2016470"/>
        <a:ext cx="4751353" cy="550071"/>
      </dsp:txXfrm>
    </dsp:sp>
    <dsp:sp modelId="{BA254C3A-AE19-463C-BF39-FA78DC0C375D}">
      <dsp:nvSpPr>
        <dsp:cNvPr id="0" name=""/>
        <dsp:cNvSpPr/>
      </dsp:nvSpPr>
      <dsp:spPr>
        <a:xfrm>
          <a:off x="4575" y="1333348"/>
          <a:ext cx="4785581"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nage users</a:t>
          </a:r>
          <a:endParaRPr lang="vi-VN" sz="2400" kern="1200"/>
        </a:p>
      </dsp:txBody>
      <dsp:txXfrm>
        <a:off x="21689" y="1350462"/>
        <a:ext cx="4751353" cy="550071"/>
      </dsp:txXfrm>
    </dsp:sp>
    <dsp:sp modelId="{9C06722C-6EE1-41DB-8E3A-08122AE43141}">
      <dsp:nvSpPr>
        <dsp:cNvPr id="0" name=""/>
        <dsp:cNvSpPr/>
      </dsp:nvSpPr>
      <dsp:spPr>
        <a:xfrm>
          <a:off x="4575"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user</a:t>
          </a:r>
          <a:endParaRPr lang="vi-VN" sz="2400" kern="1200"/>
        </a:p>
      </dsp:txBody>
      <dsp:txXfrm>
        <a:off x="21689" y="684455"/>
        <a:ext cx="4751353" cy="550071"/>
      </dsp:txXfrm>
    </dsp:sp>
    <dsp:sp modelId="{FAF92564-4B5A-4D43-A8D5-55FC8072E09C}">
      <dsp:nvSpPr>
        <dsp:cNvPr id="0" name=""/>
        <dsp:cNvSpPr/>
      </dsp:nvSpPr>
      <dsp:spPr>
        <a:xfrm>
          <a:off x="4575" y="1333"/>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user</a:t>
          </a:r>
          <a:endParaRPr lang="vi-VN" sz="2400" kern="1200"/>
        </a:p>
      </dsp:txBody>
      <dsp:txXfrm>
        <a:off x="21689" y="18447"/>
        <a:ext cx="4751353" cy="550071"/>
      </dsp:txXfrm>
    </dsp:sp>
    <dsp:sp modelId="{9D1BD11B-7BD9-404E-9AD3-59AE0D2DA140}">
      <dsp:nvSpPr>
        <dsp:cNvPr id="0" name=""/>
        <dsp:cNvSpPr/>
      </dsp:nvSpPr>
      <dsp:spPr>
        <a:xfrm>
          <a:off x="4991151" y="1999356"/>
          <a:ext cx="478558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5008265" y="2016470"/>
        <a:ext cx="4751353" cy="550071"/>
      </dsp:txXfrm>
    </dsp:sp>
    <dsp:sp modelId="{1FCEF47A-5290-466B-8FBA-055D887A939A}">
      <dsp:nvSpPr>
        <dsp:cNvPr id="0" name=""/>
        <dsp:cNvSpPr/>
      </dsp:nvSpPr>
      <dsp:spPr>
        <a:xfrm>
          <a:off x="4991151" y="1333348"/>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View profile</a:t>
          </a:r>
          <a:endParaRPr lang="vi-VN" sz="2400" kern="1200"/>
        </a:p>
      </dsp:txBody>
      <dsp:txXfrm>
        <a:off x="5008265" y="1350462"/>
        <a:ext cx="4751353" cy="550071"/>
      </dsp:txXfrm>
    </dsp:sp>
    <dsp:sp modelId="{506BE77E-9718-4F22-9258-BF56BABF942B}">
      <dsp:nvSpPr>
        <dsp:cNvPr id="0" name=""/>
        <dsp:cNvSpPr/>
      </dsp:nvSpPr>
      <dsp:spPr>
        <a:xfrm>
          <a:off x="4991151" y="667341"/>
          <a:ext cx="4785581"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Update profile</a:t>
          </a:r>
          <a:endParaRPr lang="vi-VN" sz="2400" kern="1200"/>
        </a:p>
      </dsp:txBody>
      <dsp:txXfrm>
        <a:off x="5008265" y="684455"/>
        <a:ext cx="4751353" cy="5500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2137" y="3331371"/>
          <a:ext cx="9777034"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19251" y="3348485"/>
        <a:ext cx="9742806" cy="550071"/>
      </dsp:txXfrm>
    </dsp:sp>
    <dsp:sp modelId="{C4240A56-C612-41E9-9D0B-9A6B282BA87E}">
      <dsp:nvSpPr>
        <dsp:cNvPr id="0" name=""/>
        <dsp:cNvSpPr/>
      </dsp:nvSpPr>
      <dsp:spPr>
        <a:xfrm>
          <a:off x="2137" y="2665363"/>
          <a:ext cx="9777034"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19251" y="2682477"/>
        <a:ext cx="9742806" cy="550071"/>
      </dsp:txXfrm>
    </dsp:sp>
    <dsp:sp modelId="{670504ED-D533-41A5-B215-3AC86C8703A1}">
      <dsp:nvSpPr>
        <dsp:cNvPr id="0" name=""/>
        <dsp:cNvSpPr/>
      </dsp:nvSpPr>
      <dsp:spPr>
        <a:xfrm>
          <a:off x="2137" y="1999356"/>
          <a:ext cx="3870594"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19251" y="2016470"/>
        <a:ext cx="3836366" cy="550071"/>
      </dsp:txXfrm>
    </dsp:sp>
    <dsp:sp modelId="{BA254C3A-AE19-463C-BF39-FA78DC0C375D}">
      <dsp:nvSpPr>
        <dsp:cNvPr id="0" name=""/>
        <dsp:cNvSpPr/>
      </dsp:nvSpPr>
      <dsp:spPr>
        <a:xfrm>
          <a:off x="2137"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users</a:t>
          </a:r>
          <a:endParaRPr lang="vi-VN" sz="2000" kern="1200"/>
        </a:p>
      </dsp:txBody>
      <dsp:txXfrm>
        <a:off x="19251" y="1350462"/>
        <a:ext cx="1880959" cy="550071"/>
      </dsp:txXfrm>
    </dsp:sp>
    <dsp:sp modelId="{9C06722C-6EE1-41DB-8E3A-08122AE43141}">
      <dsp:nvSpPr>
        <dsp:cNvPr id="0" name=""/>
        <dsp:cNvSpPr/>
      </dsp:nvSpPr>
      <dsp:spPr>
        <a:xfrm>
          <a:off x="2137"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user</a:t>
          </a:r>
          <a:endParaRPr lang="vi-VN" sz="2000" kern="1200"/>
        </a:p>
      </dsp:txBody>
      <dsp:txXfrm>
        <a:off x="19251" y="684455"/>
        <a:ext cx="1880959" cy="550071"/>
      </dsp:txXfrm>
    </dsp:sp>
    <dsp:sp modelId="{C920CEF5-6DDA-4154-BFEF-12EED1B18761}">
      <dsp:nvSpPr>
        <dsp:cNvPr id="0" name=""/>
        <dsp:cNvSpPr/>
      </dsp:nvSpPr>
      <dsp:spPr>
        <a:xfrm>
          <a:off x="2137"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user</a:t>
          </a:r>
          <a:endParaRPr lang="vi-VN" sz="2000" kern="1200"/>
        </a:p>
      </dsp:txBody>
      <dsp:txXfrm>
        <a:off x="19251" y="18447"/>
        <a:ext cx="1880959" cy="550071"/>
      </dsp:txXfrm>
    </dsp:sp>
    <dsp:sp modelId="{05C7A7C6-A8DF-4D56-A7EC-9B33AF937D98}">
      <dsp:nvSpPr>
        <dsp:cNvPr id="0" name=""/>
        <dsp:cNvSpPr/>
      </dsp:nvSpPr>
      <dsp:spPr>
        <a:xfrm>
          <a:off x="1957544"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activity</a:t>
          </a:r>
          <a:endParaRPr lang="vi-VN" sz="2000" kern="1200"/>
        </a:p>
      </dsp:txBody>
      <dsp:txXfrm>
        <a:off x="1974658" y="1350462"/>
        <a:ext cx="1880959" cy="550071"/>
      </dsp:txXfrm>
    </dsp:sp>
    <dsp:sp modelId="{26A87C7B-C01B-4F12-8FEB-CA6DD1935BC2}">
      <dsp:nvSpPr>
        <dsp:cNvPr id="0" name=""/>
        <dsp:cNvSpPr/>
      </dsp:nvSpPr>
      <dsp:spPr>
        <a:xfrm>
          <a:off x="1957544"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1974658" y="684455"/>
        <a:ext cx="1880959" cy="550071"/>
      </dsp:txXfrm>
    </dsp:sp>
    <dsp:sp modelId="{B3C0F0B6-427F-4365-883E-F44A7D418F93}">
      <dsp:nvSpPr>
        <dsp:cNvPr id="0" name=""/>
        <dsp:cNvSpPr/>
      </dsp:nvSpPr>
      <dsp:spPr>
        <a:xfrm>
          <a:off x="1957544"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activity</a:t>
          </a:r>
          <a:endParaRPr lang="vi-VN" sz="2000" kern="1200"/>
        </a:p>
      </dsp:txBody>
      <dsp:txXfrm>
        <a:off x="1974658" y="18447"/>
        <a:ext cx="1880959" cy="550071"/>
      </dsp:txXfrm>
    </dsp:sp>
    <dsp:sp modelId="{9D1BD11B-7BD9-404E-9AD3-59AE0D2DA140}">
      <dsp:nvSpPr>
        <dsp:cNvPr id="0" name=""/>
        <dsp:cNvSpPr/>
      </dsp:nvSpPr>
      <dsp:spPr>
        <a:xfrm>
          <a:off x="3953170" y="1999356"/>
          <a:ext cx="582600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3970284" y="2016470"/>
        <a:ext cx="5791773" cy="550071"/>
      </dsp:txXfrm>
    </dsp:sp>
    <dsp:sp modelId="{5D5B6D22-EDCE-4EB7-9392-4FCACCA2DDBE}">
      <dsp:nvSpPr>
        <dsp:cNvPr id="0" name=""/>
        <dsp:cNvSpPr/>
      </dsp:nvSpPr>
      <dsp:spPr>
        <a:xfrm>
          <a:off x="3953170" y="1333348"/>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ist activity</a:t>
          </a:r>
          <a:endParaRPr lang="vi-VN" sz="2000" kern="1200"/>
        </a:p>
      </dsp:txBody>
      <dsp:txXfrm>
        <a:off x="3970284" y="1350462"/>
        <a:ext cx="3836366" cy="550071"/>
      </dsp:txXfrm>
    </dsp:sp>
    <dsp:sp modelId="{37EEE7E1-BA9A-46A3-B460-2D20AFBC73B9}">
      <dsp:nvSpPr>
        <dsp:cNvPr id="0" name=""/>
        <dsp:cNvSpPr/>
      </dsp:nvSpPr>
      <dsp:spPr>
        <a:xfrm>
          <a:off x="3953170" y="667341"/>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3970284" y="684455"/>
        <a:ext cx="3836366" cy="550071"/>
      </dsp:txXfrm>
    </dsp:sp>
    <dsp:sp modelId="{498E8B4B-112E-4C48-AA0C-0A93AF64DB86}">
      <dsp:nvSpPr>
        <dsp:cNvPr id="0" name=""/>
        <dsp:cNvSpPr/>
      </dsp:nvSpPr>
      <dsp:spPr>
        <a:xfrm>
          <a:off x="3953170"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up</a:t>
          </a:r>
          <a:endParaRPr lang="vi-VN" sz="2000" kern="1200"/>
        </a:p>
      </dsp:txBody>
      <dsp:txXfrm>
        <a:off x="3970284" y="18447"/>
        <a:ext cx="1880959" cy="550071"/>
      </dsp:txXfrm>
    </dsp:sp>
    <dsp:sp modelId="{EF3E5C27-2AED-4300-BC42-6B0E04D86765}">
      <dsp:nvSpPr>
        <dsp:cNvPr id="0" name=""/>
        <dsp:cNvSpPr/>
      </dsp:nvSpPr>
      <dsp:spPr>
        <a:xfrm>
          <a:off x="5908576"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out</a:t>
          </a:r>
          <a:endParaRPr lang="vi-VN" sz="2000" kern="1200"/>
        </a:p>
      </dsp:txBody>
      <dsp:txXfrm>
        <a:off x="5925690" y="18447"/>
        <a:ext cx="1880959" cy="550071"/>
      </dsp:txXfrm>
    </dsp:sp>
    <dsp:sp modelId="{1FCEF47A-5290-466B-8FBA-055D887A939A}">
      <dsp:nvSpPr>
        <dsp:cNvPr id="0" name=""/>
        <dsp:cNvSpPr/>
      </dsp:nvSpPr>
      <dsp:spPr>
        <a:xfrm>
          <a:off x="7863983"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profile</a:t>
          </a:r>
          <a:endParaRPr lang="vi-VN" sz="2000" kern="1200"/>
        </a:p>
      </dsp:txBody>
      <dsp:txXfrm>
        <a:off x="7881097" y="1350462"/>
        <a:ext cx="1880959" cy="550071"/>
      </dsp:txXfrm>
    </dsp:sp>
    <dsp:sp modelId="{506BE77E-9718-4F22-9258-BF56BABF942B}">
      <dsp:nvSpPr>
        <dsp:cNvPr id="0" name=""/>
        <dsp:cNvSpPr/>
      </dsp:nvSpPr>
      <dsp:spPr>
        <a:xfrm>
          <a:off x="7863983"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profile</a:t>
          </a:r>
          <a:endParaRPr lang="vi-VN" sz="2000" kern="1200"/>
        </a:p>
      </dsp:txBody>
      <dsp:txXfrm>
        <a:off x="7881097" y="684455"/>
        <a:ext cx="1880959" cy="55007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2137" y="3331371"/>
          <a:ext cx="9777034"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19251" y="3348485"/>
        <a:ext cx="9742806" cy="550071"/>
      </dsp:txXfrm>
    </dsp:sp>
    <dsp:sp modelId="{C4240A56-C612-41E9-9D0B-9A6B282BA87E}">
      <dsp:nvSpPr>
        <dsp:cNvPr id="0" name=""/>
        <dsp:cNvSpPr/>
      </dsp:nvSpPr>
      <dsp:spPr>
        <a:xfrm>
          <a:off x="2137" y="2665363"/>
          <a:ext cx="9777034"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19251" y="2682477"/>
        <a:ext cx="9742806" cy="550071"/>
      </dsp:txXfrm>
    </dsp:sp>
    <dsp:sp modelId="{670504ED-D533-41A5-B215-3AC86C8703A1}">
      <dsp:nvSpPr>
        <dsp:cNvPr id="0" name=""/>
        <dsp:cNvSpPr/>
      </dsp:nvSpPr>
      <dsp:spPr>
        <a:xfrm>
          <a:off x="2137" y="1999356"/>
          <a:ext cx="3870594"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19251" y="2016470"/>
        <a:ext cx="3836366" cy="550071"/>
      </dsp:txXfrm>
    </dsp:sp>
    <dsp:sp modelId="{BA254C3A-AE19-463C-BF39-FA78DC0C375D}">
      <dsp:nvSpPr>
        <dsp:cNvPr id="0" name=""/>
        <dsp:cNvSpPr/>
      </dsp:nvSpPr>
      <dsp:spPr>
        <a:xfrm>
          <a:off x="2137"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users</a:t>
          </a:r>
          <a:endParaRPr lang="vi-VN" sz="2000" kern="1200"/>
        </a:p>
      </dsp:txBody>
      <dsp:txXfrm>
        <a:off x="19251" y="1350462"/>
        <a:ext cx="1880959" cy="550071"/>
      </dsp:txXfrm>
    </dsp:sp>
    <dsp:sp modelId="{9C06722C-6EE1-41DB-8E3A-08122AE43141}">
      <dsp:nvSpPr>
        <dsp:cNvPr id="0" name=""/>
        <dsp:cNvSpPr/>
      </dsp:nvSpPr>
      <dsp:spPr>
        <a:xfrm>
          <a:off x="2137" y="667341"/>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user</a:t>
          </a:r>
          <a:endParaRPr lang="vi-VN" sz="2000" kern="1200"/>
        </a:p>
      </dsp:txBody>
      <dsp:txXfrm>
        <a:off x="19251" y="684455"/>
        <a:ext cx="1880959" cy="550071"/>
      </dsp:txXfrm>
    </dsp:sp>
    <dsp:sp modelId="{C920CEF5-6DDA-4154-BFEF-12EED1B18761}">
      <dsp:nvSpPr>
        <dsp:cNvPr id="0" name=""/>
        <dsp:cNvSpPr/>
      </dsp:nvSpPr>
      <dsp:spPr>
        <a:xfrm>
          <a:off x="2137" y="1333"/>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user</a:t>
          </a:r>
          <a:endParaRPr lang="vi-VN" sz="2000" kern="1200"/>
        </a:p>
      </dsp:txBody>
      <dsp:txXfrm>
        <a:off x="19251" y="18447"/>
        <a:ext cx="1880959" cy="550071"/>
      </dsp:txXfrm>
    </dsp:sp>
    <dsp:sp modelId="{05C7A7C6-A8DF-4D56-A7EC-9B33AF937D98}">
      <dsp:nvSpPr>
        <dsp:cNvPr id="0" name=""/>
        <dsp:cNvSpPr/>
      </dsp:nvSpPr>
      <dsp:spPr>
        <a:xfrm>
          <a:off x="1957544"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activity</a:t>
          </a:r>
          <a:endParaRPr lang="vi-VN" sz="2000" kern="1200"/>
        </a:p>
      </dsp:txBody>
      <dsp:txXfrm>
        <a:off x="1974658" y="1350462"/>
        <a:ext cx="1880959" cy="550071"/>
      </dsp:txXfrm>
    </dsp:sp>
    <dsp:sp modelId="{26A87C7B-C01B-4F12-8FEB-CA6DD1935BC2}">
      <dsp:nvSpPr>
        <dsp:cNvPr id="0" name=""/>
        <dsp:cNvSpPr/>
      </dsp:nvSpPr>
      <dsp:spPr>
        <a:xfrm>
          <a:off x="1957544"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1974658" y="684455"/>
        <a:ext cx="1880959" cy="550071"/>
      </dsp:txXfrm>
    </dsp:sp>
    <dsp:sp modelId="{B3C0F0B6-427F-4365-883E-F44A7D418F93}">
      <dsp:nvSpPr>
        <dsp:cNvPr id="0" name=""/>
        <dsp:cNvSpPr/>
      </dsp:nvSpPr>
      <dsp:spPr>
        <a:xfrm>
          <a:off x="1957544"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activity</a:t>
          </a:r>
          <a:endParaRPr lang="vi-VN" sz="2000" kern="1200"/>
        </a:p>
      </dsp:txBody>
      <dsp:txXfrm>
        <a:off x="1974658" y="18447"/>
        <a:ext cx="1880959" cy="550071"/>
      </dsp:txXfrm>
    </dsp:sp>
    <dsp:sp modelId="{9D1BD11B-7BD9-404E-9AD3-59AE0D2DA140}">
      <dsp:nvSpPr>
        <dsp:cNvPr id="0" name=""/>
        <dsp:cNvSpPr/>
      </dsp:nvSpPr>
      <dsp:spPr>
        <a:xfrm>
          <a:off x="3953170" y="1999356"/>
          <a:ext cx="582600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3970284" y="2016470"/>
        <a:ext cx="5791773" cy="550071"/>
      </dsp:txXfrm>
    </dsp:sp>
    <dsp:sp modelId="{5D5B6D22-EDCE-4EB7-9392-4FCACCA2DDBE}">
      <dsp:nvSpPr>
        <dsp:cNvPr id="0" name=""/>
        <dsp:cNvSpPr/>
      </dsp:nvSpPr>
      <dsp:spPr>
        <a:xfrm>
          <a:off x="3953170" y="1333348"/>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ist activity</a:t>
          </a:r>
          <a:endParaRPr lang="vi-VN" sz="2000" kern="1200"/>
        </a:p>
      </dsp:txBody>
      <dsp:txXfrm>
        <a:off x="3970284" y="1350462"/>
        <a:ext cx="3836366" cy="550071"/>
      </dsp:txXfrm>
    </dsp:sp>
    <dsp:sp modelId="{37EEE7E1-BA9A-46A3-B460-2D20AFBC73B9}">
      <dsp:nvSpPr>
        <dsp:cNvPr id="0" name=""/>
        <dsp:cNvSpPr/>
      </dsp:nvSpPr>
      <dsp:spPr>
        <a:xfrm>
          <a:off x="3953170" y="667341"/>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3970284" y="684455"/>
        <a:ext cx="3836366" cy="550071"/>
      </dsp:txXfrm>
    </dsp:sp>
    <dsp:sp modelId="{498E8B4B-112E-4C48-AA0C-0A93AF64DB86}">
      <dsp:nvSpPr>
        <dsp:cNvPr id="0" name=""/>
        <dsp:cNvSpPr/>
      </dsp:nvSpPr>
      <dsp:spPr>
        <a:xfrm>
          <a:off x="3953170"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up</a:t>
          </a:r>
          <a:endParaRPr lang="vi-VN" sz="2000" kern="1200"/>
        </a:p>
      </dsp:txBody>
      <dsp:txXfrm>
        <a:off x="3970284" y="18447"/>
        <a:ext cx="1880959" cy="550071"/>
      </dsp:txXfrm>
    </dsp:sp>
    <dsp:sp modelId="{EF3E5C27-2AED-4300-BC42-6B0E04D86765}">
      <dsp:nvSpPr>
        <dsp:cNvPr id="0" name=""/>
        <dsp:cNvSpPr/>
      </dsp:nvSpPr>
      <dsp:spPr>
        <a:xfrm>
          <a:off x="5908576"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out</a:t>
          </a:r>
          <a:endParaRPr lang="vi-VN" sz="2000" kern="1200"/>
        </a:p>
      </dsp:txBody>
      <dsp:txXfrm>
        <a:off x="5925690" y="18447"/>
        <a:ext cx="1880959" cy="550071"/>
      </dsp:txXfrm>
    </dsp:sp>
    <dsp:sp modelId="{1FCEF47A-5290-466B-8FBA-055D887A939A}">
      <dsp:nvSpPr>
        <dsp:cNvPr id="0" name=""/>
        <dsp:cNvSpPr/>
      </dsp:nvSpPr>
      <dsp:spPr>
        <a:xfrm>
          <a:off x="7863983" y="1333348"/>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profile</a:t>
          </a:r>
          <a:endParaRPr lang="vi-VN" sz="2000" kern="1200"/>
        </a:p>
      </dsp:txBody>
      <dsp:txXfrm>
        <a:off x="7881097" y="1350462"/>
        <a:ext cx="1880959" cy="550071"/>
      </dsp:txXfrm>
    </dsp:sp>
    <dsp:sp modelId="{506BE77E-9718-4F22-9258-BF56BABF942B}">
      <dsp:nvSpPr>
        <dsp:cNvPr id="0" name=""/>
        <dsp:cNvSpPr/>
      </dsp:nvSpPr>
      <dsp:spPr>
        <a:xfrm>
          <a:off x="7863983" y="667341"/>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profile</a:t>
          </a:r>
          <a:endParaRPr lang="vi-VN" sz="2000" kern="1200"/>
        </a:p>
      </dsp:txBody>
      <dsp:txXfrm>
        <a:off x="7881097" y="684455"/>
        <a:ext cx="1880959" cy="55007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7248D-12DD-4800-80EE-FFE52B2BF620}">
      <dsp:nvSpPr>
        <dsp:cNvPr id="0" name=""/>
        <dsp:cNvSpPr/>
      </dsp:nvSpPr>
      <dsp:spPr>
        <a:xfrm>
          <a:off x="2137" y="3331371"/>
          <a:ext cx="9777034" cy="5842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ain menu</a:t>
          </a:r>
          <a:endParaRPr lang="vi-VN" sz="2400" kern="1200"/>
        </a:p>
      </dsp:txBody>
      <dsp:txXfrm>
        <a:off x="19251" y="3348485"/>
        <a:ext cx="9742806" cy="550071"/>
      </dsp:txXfrm>
    </dsp:sp>
    <dsp:sp modelId="{C4240A56-C612-41E9-9D0B-9A6B282BA87E}">
      <dsp:nvSpPr>
        <dsp:cNvPr id="0" name=""/>
        <dsp:cNvSpPr/>
      </dsp:nvSpPr>
      <dsp:spPr>
        <a:xfrm>
          <a:off x="2137" y="2665363"/>
          <a:ext cx="9777034" cy="5842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ogin menu</a:t>
          </a:r>
          <a:endParaRPr lang="vi-VN" sz="2400" kern="1200"/>
        </a:p>
      </dsp:txBody>
      <dsp:txXfrm>
        <a:off x="19251" y="2682477"/>
        <a:ext cx="9742806" cy="550071"/>
      </dsp:txXfrm>
    </dsp:sp>
    <dsp:sp modelId="{670504ED-D533-41A5-B215-3AC86C8703A1}">
      <dsp:nvSpPr>
        <dsp:cNvPr id="0" name=""/>
        <dsp:cNvSpPr/>
      </dsp:nvSpPr>
      <dsp:spPr>
        <a:xfrm>
          <a:off x="2137" y="1999356"/>
          <a:ext cx="3870594"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rganizer dashboard</a:t>
          </a:r>
          <a:endParaRPr lang="vi-VN" sz="2400" kern="1200"/>
        </a:p>
      </dsp:txBody>
      <dsp:txXfrm>
        <a:off x="19251" y="2016470"/>
        <a:ext cx="3836366" cy="550071"/>
      </dsp:txXfrm>
    </dsp:sp>
    <dsp:sp modelId="{BA254C3A-AE19-463C-BF39-FA78DC0C375D}">
      <dsp:nvSpPr>
        <dsp:cNvPr id="0" name=""/>
        <dsp:cNvSpPr/>
      </dsp:nvSpPr>
      <dsp:spPr>
        <a:xfrm>
          <a:off x="2137"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users</a:t>
          </a:r>
          <a:endParaRPr lang="vi-VN" sz="2000" kern="1200"/>
        </a:p>
      </dsp:txBody>
      <dsp:txXfrm>
        <a:off x="19251" y="1350462"/>
        <a:ext cx="1880959" cy="550071"/>
      </dsp:txXfrm>
    </dsp:sp>
    <dsp:sp modelId="{9C06722C-6EE1-41DB-8E3A-08122AE43141}">
      <dsp:nvSpPr>
        <dsp:cNvPr id="0" name=""/>
        <dsp:cNvSpPr/>
      </dsp:nvSpPr>
      <dsp:spPr>
        <a:xfrm>
          <a:off x="2137"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user</a:t>
          </a:r>
          <a:endParaRPr lang="vi-VN" sz="2000" kern="1200"/>
        </a:p>
      </dsp:txBody>
      <dsp:txXfrm>
        <a:off x="19251" y="684455"/>
        <a:ext cx="1880959" cy="550071"/>
      </dsp:txXfrm>
    </dsp:sp>
    <dsp:sp modelId="{C920CEF5-6DDA-4154-BFEF-12EED1B18761}">
      <dsp:nvSpPr>
        <dsp:cNvPr id="0" name=""/>
        <dsp:cNvSpPr/>
      </dsp:nvSpPr>
      <dsp:spPr>
        <a:xfrm>
          <a:off x="2137"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user</a:t>
          </a:r>
          <a:endParaRPr lang="vi-VN" sz="2000" kern="1200"/>
        </a:p>
      </dsp:txBody>
      <dsp:txXfrm>
        <a:off x="19251" y="18447"/>
        <a:ext cx="1880959" cy="550071"/>
      </dsp:txXfrm>
    </dsp:sp>
    <dsp:sp modelId="{05C7A7C6-A8DF-4D56-A7EC-9B33AF937D98}">
      <dsp:nvSpPr>
        <dsp:cNvPr id="0" name=""/>
        <dsp:cNvSpPr/>
      </dsp:nvSpPr>
      <dsp:spPr>
        <a:xfrm>
          <a:off x="1957544"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anage activity</a:t>
          </a:r>
          <a:endParaRPr lang="vi-VN" sz="2000" kern="1200"/>
        </a:p>
      </dsp:txBody>
      <dsp:txXfrm>
        <a:off x="1974658" y="1350462"/>
        <a:ext cx="1880959" cy="550071"/>
      </dsp:txXfrm>
    </dsp:sp>
    <dsp:sp modelId="{26A87C7B-C01B-4F12-8FEB-CA6DD1935BC2}">
      <dsp:nvSpPr>
        <dsp:cNvPr id="0" name=""/>
        <dsp:cNvSpPr/>
      </dsp:nvSpPr>
      <dsp:spPr>
        <a:xfrm>
          <a:off x="1957544" y="667341"/>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1974658" y="684455"/>
        <a:ext cx="1880959" cy="550071"/>
      </dsp:txXfrm>
    </dsp:sp>
    <dsp:sp modelId="{B3C0F0B6-427F-4365-883E-F44A7D418F93}">
      <dsp:nvSpPr>
        <dsp:cNvPr id="0" name=""/>
        <dsp:cNvSpPr/>
      </dsp:nvSpPr>
      <dsp:spPr>
        <a:xfrm>
          <a:off x="1957544" y="1333"/>
          <a:ext cx="1915187"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activity</a:t>
          </a:r>
          <a:endParaRPr lang="vi-VN" sz="2000" kern="1200"/>
        </a:p>
      </dsp:txBody>
      <dsp:txXfrm>
        <a:off x="1974658" y="18447"/>
        <a:ext cx="1880959" cy="550071"/>
      </dsp:txXfrm>
    </dsp:sp>
    <dsp:sp modelId="{9D1BD11B-7BD9-404E-9AD3-59AE0D2DA140}">
      <dsp:nvSpPr>
        <dsp:cNvPr id="0" name=""/>
        <dsp:cNvSpPr/>
      </dsp:nvSpPr>
      <dsp:spPr>
        <a:xfrm>
          <a:off x="3953170" y="1999356"/>
          <a:ext cx="5826001" cy="584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Member dashboard</a:t>
          </a:r>
          <a:endParaRPr lang="vi-VN" sz="2400" kern="1200"/>
        </a:p>
      </dsp:txBody>
      <dsp:txXfrm>
        <a:off x="3970284" y="2016470"/>
        <a:ext cx="5791773" cy="550071"/>
      </dsp:txXfrm>
    </dsp:sp>
    <dsp:sp modelId="{5D5B6D22-EDCE-4EB7-9392-4FCACCA2DDBE}">
      <dsp:nvSpPr>
        <dsp:cNvPr id="0" name=""/>
        <dsp:cNvSpPr/>
      </dsp:nvSpPr>
      <dsp:spPr>
        <a:xfrm>
          <a:off x="3953170" y="1333348"/>
          <a:ext cx="3870594"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ist activity</a:t>
          </a:r>
          <a:endParaRPr lang="vi-VN" sz="2000" kern="1200"/>
        </a:p>
      </dsp:txBody>
      <dsp:txXfrm>
        <a:off x="3970284" y="1350462"/>
        <a:ext cx="3836366" cy="550071"/>
      </dsp:txXfrm>
    </dsp:sp>
    <dsp:sp modelId="{37EEE7E1-BA9A-46A3-B460-2D20AFBC73B9}">
      <dsp:nvSpPr>
        <dsp:cNvPr id="0" name=""/>
        <dsp:cNvSpPr/>
      </dsp:nvSpPr>
      <dsp:spPr>
        <a:xfrm>
          <a:off x="3953170" y="667341"/>
          <a:ext cx="3870594" cy="584299"/>
        </a:xfrm>
        <a:prstGeom prst="roundRect">
          <a:avLst>
            <a:gd name="adj" fmla="val 10000"/>
          </a:avLst>
        </a:prstGeom>
        <a:solidFill>
          <a:schemeClr val="accent5">
            <a:hueOff val="0"/>
            <a:satOff val="0"/>
            <a:lumOff val="0"/>
            <a:alphaOff val="0"/>
          </a:schemeClr>
        </a:solidFill>
        <a:ln w="38100" cap="flat" cmpd="sng" algn="ctr">
          <a:solidFill>
            <a:srgbClr val="0F2047"/>
          </a:solidFill>
          <a:prstDash val="solid"/>
          <a:miter lim="800000"/>
          <a:extLst>
            <a:ext uri="{C807C97D-BFC1-408E-A445-0C87EB9F89A2}">
              <ask:lineSketchStyleProps xmlns:ask="http://schemas.microsoft.com/office/drawing/2018/sketchyshapes">
                <ask:type>
                  <ask:lineSketchFreehan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Activity</a:t>
          </a:r>
          <a:endParaRPr lang="vi-VN" sz="2000" kern="1200"/>
        </a:p>
      </dsp:txBody>
      <dsp:txXfrm>
        <a:off x="3970284" y="684455"/>
        <a:ext cx="3836366" cy="550071"/>
      </dsp:txXfrm>
    </dsp:sp>
    <dsp:sp modelId="{498E8B4B-112E-4C48-AA0C-0A93AF64DB86}">
      <dsp:nvSpPr>
        <dsp:cNvPr id="0" name=""/>
        <dsp:cNvSpPr/>
      </dsp:nvSpPr>
      <dsp:spPr>
        <a:xfrm>
          <a:off x="3953170"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up</a:t>
          </a:r>
          <a:endParaRPr lang="vi-VN" sz="2000" kern="1200"/>
        </a:p>
      </dsp:txBody>
      <dsp:txXfrm>
        <a:off x="3970284" y="18447"/>
        <a:ext cx="1880959" cy="550071"/>
      </dsp:txXfrm>
    </dsp:sp>
    <dsp:sp modelId="{EF3E5C27-2AED-4300-BC42-6B0E04D86765}">
      <dsp:nvSpPr>
        <dsp:cNvPr id="0" name=""/>
        <dsp:cNvSpPr/>
      </dsp:nvSpPr>
      <dsp:spPr>
        <a:xfrm>
          <a:off x="5908576" y="1333"/>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ign out</a:t>
          </a:r>
          <a:endParaRPr lang="vi-VN" sz="2000" kern="1200"/>
        </a:p>
      </dsp:txBody>
      <dsp:txXfrm>
        <a:off x="5925690" y="18447"/>
        <a:ext cx="1880959" cy="550071"/>
      </dsp:txXfrm>
    </dsp:sp>
    <dsp:sp modelId="{1FCEF47A-5290-466B-8FBA-055D887A939A}">
      <dsp:nvSpPr>
        <dsp:cNvPr id="0" name=""/>
        <dsp:cNvSpPr/>
      </dsp:nvSpPr>
      <dsp:spPr>
        <a:xfrm>
          <a:off x="7863983" y="1333348"/>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View profile</a:t>
          </a:r>
          <a:endParaRPr lang="vi-VN" sz="2000" kern="1200"/>
        </a:p>
      </dsp:txBody>
      <dsp:txXfrm>
        <a:off x="7881097" y="1350462"/>
        <a:ext cx="1880959" cy="550071"/>
      </dsp:txXfrm>
    </dsp:sp>
    <dsp:sp modelId="{506BE77E-9718-4F22-9258-BF56BABF942B}">
      <dsp:nvSpPr>
        <dsp:cNvPr id="0" name=""/>
        <dsp:cNvSpPr/>
      </dsp:nvSpPr>
      <dsp:spPr>
        <a:xfrm>
          <a:off x="7863983" y="667341"/>
          <a:ext cx="1915187" cy="58429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pdate profile</a:t>
          </a:r>
          <a:endParaRPr lang="vi-VN" sz="2000" kern="1200"/>
        </a:p>
      </dsp:txBody>
      <dsp:txXfrm>
        <a:off x="7881097" y="684455"/>
        <a:ext cx="1880959" cy="550071"/>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vi-V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DFB0A6-C006-44D2-A6FC-5B857EC7AF3B}" type="datetimeFigureOut">
              <a:rPr lang="vi-VN" smtClean="0"/>
              <a:t>26/06/2023</a:t>
            </a:fld>
            <a:endParaRPr lang="vi-V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vi-V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vi-V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vi-V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A03336-6844-4A95-9F7F-DC40E32233B4}" type="slidenum">
              <a:rPr lang="vi-VN" smtClean="0"/>
              <a:t>‹#›</a:t>
            </a:fld>
            <a:endParaRPr lang="vi-VN"/>
          </a:p>
        </p:txBody>
      </p:sp>
    </p:spTree>
    <p:extLst>
      <p:ext uri="{BB962C8B-B14F-4D97-AF65-F5344CB8AC3E}">
        <p14:creationId xmlns:p14="http://schemas.microsoft.com/office/powerpoint/2010/main" val="1935202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232" indent="-161232">
              <a:buFont typeface="Arial" panose="020B0604020202020204" pitchFamily="34" charset="0"/>
              <a:buChar char="•"/>
            </a:pPr>
            <a:endParaRPr lang="en-US" baseline="0" noProof="0"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FAC016E-5E5F-3248-8F94-DBEB972C2B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404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0</a:t>
            </a:fld>
            <a:endParaRPr lang="en-US"/>
          </a:p>
        </p:txBody>
      </p:sp>
    </p:spTree>
    <p:extLst>
      <p:ext uri="{BB962C8B-B14F-4D97-AF65-F5344CB8AC3E}">
        <p14:creationId xmlns:p14="http://schemas.microsoft.com/office/powerpoint/2010/main" val="1920734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1</a:t>
            </a:fld>
            <a:endParaRPr lang="en-US"/>
          </a:p>
        </p:txBody>
      </p:sp>
    </p:spTree>
    <p:extLst>
      <p:ext uri="{BB962C8B-B14F-4D97-AF65-F5344CB8AC3E}">
        <p14:creationId xmlns:p14="http://schemas.microsoft.com/office/powerpoint/2010/main" val="910691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2</a:t>
            </a:fld>
            <a:endParaRPr lang="en-US"/>
          </a:p>
        </p:txBody>
      </p:sp>
    </p:spTree>
    <p:extLst>
      <p:ext uri="{BB962C8B-B14F-4D97-AF65-F5344CB8AC3E}">
        <p14:creationId xmlns:p14="http://schemas.microsoft.com/office/powerpoint/2010/main" val="3980267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3</a:t>
            </a:fld>
            <a:endParaRPr lang="en-US"/>
          </a:p>
        </p:txBody>
      </p:sp>
    </p:spTree>
    <p:extLst>
      <p:ext uri="{BB962C8B-B14F-4D97-AF65-F5344CB8AC3E}">
        <p14:creationId xmlns:p14="http://schemas.microsoft.com/office/powerpoint/2010/main" val="1105846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4</a:t>
            </a:fld>
            <a:endParaRPr lang="en-US"/>
          </a:p>
        </p:txBody>
      </p:sp>
    </p:spTree>
    <p:extLst>
      <p:ext uri="{BB962C8B-B14F-4D97-AF65-F5344CB8AC3E}">
        <p14:creationId xmlns:p14="http://schemas.microsoft.com/office/powerpoint/2010/main" val="1355482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5</a:t>
            </a:fld>
            <a:endParaRPr lang="en-US"/>
          </a:p>
        </p:txBody>
      </p:sp>
    </p:spTree>
    <p:extLst>
      <p:ext uri="{BB962C8B-B14F-4D97-AF65-F5344CB8AC3E}">
        <p14:creationId xmlns:p14="http://schemas.microsoft.com/office/powerpoint/2010/main" val="12180659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6</a:t>
            </a:fld>
            <a:endParaRPr lang="en-US"/>
          </a:p>
        </p:txBody>
      </p:sp>
    </p:spTree>
    <p:extLst>
      <p:ext uri="{BB962C8B-B14F-4D97-AF65-F5344CB8AC3E}">
        <p14:creationId xmlns:p14="http://schemas.microsoft.com/office/powerpoint/2010/main" val="2408379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7</a:t>
            </a:fld>
            <a:endParaRPr lang="en-US"/>
          </a:p>
        </p:txBody>
      </p:sp>
    </p:spTree>
    <p:extLst>
      <p:ext uri="{BB962C8B-B14F-4D97-AF65-F5344CB8AC3E}">
        <p14:creationId xmlns:p14="http://schemas.microsoft.com/office/powerpoint/2010/main" val="4038544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8</a:t>
            </a:fld>
            <a:endParaRPr lang="en-US"/>
          </a:p>
        </p:txBody>
      </p:sp>
    </p:spTree>
    <p:extLst>
      <p:ext uri="{BB962C8B-B14F-4D97-AF65-F5344CB8AC3E}">
        <p14:creationId xmlns:p14="http://schemas.microsoft.com/office/powerpoint/2010/main" val="17679081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49</a:t>
            </a:fld>
            <a:endParaRPr lang="en-US"/>
          </a:p>
        </p:txBody>
      </p:sp>
    </p:spTree>
    <p:extLst>
      <p:ext uri="{BB962C8B-B14F-4D97-AF65-F5344CB8AC3E}">
        <p14:creationId xmlns:p14="http://schemas.microsoft.com/office/powerpoint/2010/main" val="196482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a:p>
        </p:txBody>
      </p:sp>
      <p:sp>
        <p:nvSpPr>
          <p:cNvPr id="4" name="Slide Number Placeholder 3"/>
          <p:cNvSpPr>
            <a:spLocks noGrp="1"/>
          </p:cNvSpPr>
          <p:nvPr>
            <p:ph type="sldNum" sz="quarter" idx="5"/>
          </p:nvPr>
        </p:nvSpPr>
        <p:spPr/>
        <p:txBody>
          <a:bodyPr/>
          <a:lstStyle/>
          <a:p>
            <a:fld id="{B75C9B09-1343-A043-9921-A0566060D0AA}" type="slidenum">
              <a:rPr lang="da-DK" smtClean="0"/>
              <a:t>3</a:t>
            </a:fld>
            <a:endParaRPr lang="da-DK"/>
          </a:p>
        </p:txBody>
      </p:sp>
    </p:spTree>
    <p:extLst>
      <p:ext uri="{BB962C8B-B14F-4D97-AF65-F5344CB8AC3E}">
        <p14:creationId xmlns:p14="http://schemas.microsoft.com/office/powerpoint/2010/main" val="38079619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0</a:t>
            </a:fld>
            <a:endParaRPr lang="en-US"/>
          </a:p>
        </p:txBody>
      </p:sp>
    </p:spTree>
    <p:extLst>
      <p:ext uri="{BB962C8B-B14F-4D97-AF65-F5344CB8AC3E}">
        <p14:creationId xmlns:p14="http://schemas.microsoft.com/office/powerpoint/2010/main" val="2918551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1</a:t>
            </a:fld>
            <a:endParaRPr lang="en-US"/>
          </a:p>
        </p:txBody>
      </p:sp>
    </p:spTree>
    <p:extLst>
      <p:ext uri="{BB962C8B-B14F-4D97-AF65-F5344CB8AC3E}">
        <p14:creationId xmlns:p14="http://schemas.microsoft.com/office/powerpoint/2010/main" val="13717726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2</a:t>
            </a:fld>
            <a:endParaRPr lang="en-US"/>
          </a:p>
        </p:txBody>
      </p:sp>
    </p:spTree>
    <p:extLst>
      <p:ext uri="{BB962C8B-B14F-4D97-AF65-F5344CB8AC3E}">
        <p14:creationId xmlns:p14="http://schemas.microsoft.com/office/powerpoint/2010/main" val="192185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3</a:t>
            </a:fld>
            <a:endParaRPr lang="en-US"/>
          </a:p>
        </p:txBody>
      </p:sp>
    </p:spTree>
    <p:extLst>
      <p:ext uri="{BB962C8B-B14F-4D97-AF65-F5344CB8AC3E}">
        <p14:creationId xmlns:p14="http://schemas.microsoft.com/office/powerpoint/2010/main" val="14947310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4</a:t>
            </a:fld>
            <a:endParaRPr lang="en-US"/>
          </a:p>
        </p:txBody>
      </p:sp>
    </p:spTree>
    <p:extLst>
      <p:ext uri="{BB962C8B-B14F-4D97-AF65-F5344CB8AC3E}">
        <p14:creationId xmlns:p14="http://schemas.microsoft.com/office/powerpoint/2010/main" val="1649388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5</a:t>
            </a:fld>
            <a:endParaRPr lang="en-US"/>
          </a:p>
        </p:txBody>
      </p:sp>
    </p:spTree>
    <p:extLst>
      <p:ext uri="{BB962C8B-B14F-4D97-AF65-F5344CB8AC3E}">
        <p14:creationId xmlns:p14="http://schemas.microsoft.com/office/powerpoint/2010/main" val="15850848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6</a:t>
            </a:fld>
            <a:endParaRPr lang="en-US"/>
          </a:p>
        </p:txBody>
      </p:sp>
    </p:spTree>
    <p:extLst>
      <p:ext uri="{BB962C8B-B14F-4D97-AF65-F5344CB8AC3E}">
        <p14:creationId xmlns:p14="http://schemas.microsoft.com/office/powerpoint/2010/main" val="35916909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7</a:t>
            </a:fld>
            <a:endParaRPr lang="en-US"/>
          </a:p>
        </p:txBody>
      </p:sp>
    </p:spTree>
    <p:extLst>
      <p:ext uri="{BB962C8B-B14F-4D97-AF65-F5344CB8AC3E}">
        <p14:creationId xmlns:p14="http://schemas.microsoft.com/office/powerpoint/2010/main" val="4729562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8</a:t>
            </a:fld>
            <a:endParaRPr lang="en-US"/>
          </a:p>
        </p:txBody>
      </p:sp>
    </p:spTree>
    <p:extLst>
      <p:ext uri="{BB962C8B-B14F-4D97-AF65-F5344CB8AC3E}">
        <p14:creationId xmlns:p14="http://schemas.microsoft.com/office/powerpoint/2010/main" val="20066697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59</a:t>
            </a:fld>
            <a:endParaRPr lang="en-US"/>
          </a:p>
        </p:txBody>
      </p:sp>
    </p:spTree>
    <p:extLst>
      <p:ext uri="{BB962C8B-B14F-4D97-AF65-F5344CB8AC3E}">
        <p14:creationId xmlns:p14="http://schemas.microsoft.com/office/powerpoint/2010/main" val="1718127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232" indent="-161232">
              <a:buFont typeface="Arial" panose="020B0604020202020204" pitchFamily="34" charset="0"/>
              <a:buChar char="•"/>
            </a:pPr>
            <a:r>
              <a:rPr lang="en-US" noProof="0"/>
              <a:t>We going</a:t>
            </a:r>
            <a:r>
              <a:rPr lang="en-US" baseline="0" noProof="0"/>
              <a:t> to spend the rest of the afternoon to let you experience some of the secrets behind the most successful IT business in Scandinavia</a:t>
            </a:r>
          </a:p>
          <a:p>
            <a:pPr marL="161232" indent="-161232">
              <a:buFont typeface="Arial" panose="020B0604020202020204" pitchFamily="34" charset="0"/>
              <a:buChar char="•"/>
            </a:pPr>
            <a:r>
              <a:rPr lang="en-US" baseline="0" noProof="0"/>
              <a:t>First, we will give you a small piece of insight into working in Netcompany and a bit of information about </a:t>
            </a:r>
            <a:r>
              <a:rPr lang="en-US" noProof="0"/>
              <a:t>the company profile</a:t>
            </a:r>
          </a:p>
          <a:p>
            <a:pPr marL="504132" lvl="1" indent="-161232" defTabSz="429951">
              <a:buFont typeface="Arial" panose="020B0604020202020204" pitchFamily="34" charset="0"/>
              <a:buChar char="•"/>
              <a:defRPr/>
            </a:pPr>
            <a:r>
              <a:rPr lang="en-US" baseline="0" noProof="0"/>
              <a:t>But what is it we do, and how do we do it better than our competitors</a:t>
            </a:r>
            <a:endParaRPr lang="en-US" noProof="0"/>
          </a:p>
          <a:p>
            <a:pPr marL="161232" indent="-161232">
              <a:buFont typeface="Arial" panose="020B0604020202020204" pitchFamily="34" charset="0"/>
              <a:buChar char="•"/>
            </a:pPr>
            <a:endParaRPr lang="en-US" baseline="0" noProof="0"/>
          </a:p>
          <a:p>
            <a:pPr marL="161232" indent="-161232">
              <a:buFont typeface="Arial" panose="020B0604020202020204" pitchFamily="34" charset="0"/>
              <a:buChar char="•"/>
            </a:pPr>
            <a:r>
              <a:rPr lang="en-US" baseline="0" noProof="0"/>
              <a:t>The goal of the afternoon is to give you an impression of how it is to work in a Netcompany team, and we are going to do that by working on a real life case. </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FAC016E-5E5F-3248-8F94-DBEB972C2B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9838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0</a:t>
            </a:fld>
            <a:endParaRPr lang="en-US"/>
          </a:p>
        </p:txBody>
      </p:sp>
    </p:spTree>
    <p:extLst>
      <p:ext uri="{BB962C8B-B14F-4D97-AF65-F5344CB8AC3E}">
        <p14:creationId xmlns:p14="http://schemas.microsoft.com/office/powerpoint/2010/main" val="34636130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1</a:t>
            </a:fld>
            <a:endParaRPr lang="en-US"/>
          </a:p>
        </p:txBody>
      </p:sp>
    </p:spTree>
    <p:extLst>
      <p:ext uri="{BB962C8B-B14F-4D97-AF65-F5344CB8AC3E}">
        <p14:creationId xmlns:p14="http://schemas.microsoft.com/office/powerpoint/2010/main" val="3603503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2</a:t>
            </a:fld>
            <a:endParaRPr lang="en-US"/>
          </a:p>
        </p:txBody>
      </p:sp>
    </p:spTree>
    <p:extLst>
      <p:ext uri="{BB962C8B-B14F-4D97-AF65-F5344CB8AC3E}">
        <p14:creationId xmlns:p14="http://schemas.microsoft.com/office/powerpoint/2010/main" val="41639900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4</a:t>
            </a:fld>
            <a:endParaRPr lang="en-US"/>
          </a:p>
        </p:txBody>
      </p:sp>
    </p:spTree>
    <p:extLst>
      <p:ext uri="{BB962C8B-B14F-4D97-AF65-F5344CB8AC3E}">
        <p14:creationId xmlns:p14="http://schemas.microsoft.com/office/powerpoint/2010/main" val="20307314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5</a:t>
            </a:fld>
            <a:endParaRPr lang="en-US"/>
          </a:p>
        </p:txBody>
      </p:sp>
    </p:spTree>
    <p:extLst>
      <p:ext uri="{BB962C8B-B14F-4D97-AF65-F5344CB8AC3E}">
        <p14:creationId xmlns:p14="http://schemas.microsoft.com/office/powerpoint/2010/main" val="36944624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6</a:t>
            </a:fld>
            <a:endParaRPr lang="en-US"/>
          </a:p>
        </p:txBody>
      </p:sp>
    </p:spTree>
    <p:extLst>
      <p:ext uri="{BB962C8B-B14F-4D97-AF65-F5344CB8AC3E}">
        <p14:creationId xmlns:p14="http://schemas.microsoft.com/office/powerpoint/2010/main" val="19217502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7</a:t>
            </a:fld>
            <a:endParaRPr lang="en-US"/>
          </a:p>
        </p:txBody>
      </p:sp>
    </p:spTree>
    <p:extLst>
      <p:ext uri="{BB962C8B-B14F-4D97-AF65-F5344CB8AC3E}">
        <p14:creationId xmlns:p14="http://schemas.microsoft.com/office/powerpoint/2010/main" val="21717036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8</a:t>
            </a:fld>
            <a:endParaRPr lang="en-US"/>
          </a:p>
        </p:txBody>
      </p:sp>
    </p:spTree>
    <p:extLst>
      <p:ext uri="{BB962C8B-B14F-4D97-AF65-F5344CB8AC3E}">
        <p14:creationId xmlns:p14="http://schemas.microsoft.com/office/powerpoint/2010/main" val="3843036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69</a:t>
            </a:fld>
            <a:endParaRPr lang="en-US"/>
          </a:p>
        </p:txBody>
      </p:sp>
    </p:spTree>
    <p:extLst>
      <p:ext uri="{BB962C8B-B14F-4D97-AF65-F5344CB8AC3E}">
        <p14:creationId xmlns:p14="http://schemas.microsoft.com/office/powerpoint/2010/main" val="23829496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232" indent="-161232">
              <a:buFont typeface="Arial" panose="020B0604020202020204" pitchFamily="34" charset="0"/>
              <a:buChar char="•"/>
            </a:pPr>
            <a:endParaRPr lang="en-US" baseline="0" noProof="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FAC016E-5E5F-3248-8F94-DBEB972C2B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587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9</a:t>
            </a:fld>
            <a:endParaRPr lang="en-US"/>
          </a:p>
        </p:txBody>
      </p:sp>
    </p:spTree>
    <p:extLst>
      <p:ext uri="{BB962C8B-B14F-4D97-AF65-F5344CB8AC3E}">
        <p14:creationId xmlns:p14="http://schemas.microsoft.com/office/powerpoint/2010/main" val="3204868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VC is a design pattern, so what is it?</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1</a:t>
            </a:fld>
            <a:endParaRPr lang="da-DK"/>
          </a:p>
        </p:txBody>
      </p:sp>
    </p:spTree>
    <p:extLst>
      <p:ext uri="{BB962C8B-B14F-4D97-AF65-F5344CB8AC3E}">
        <p14:creationId xmlns:p14="http://schemas.microsoft.com/office/powerpoint/2010/main" val="3137935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irst introduced in 1994 by the Gang Of Four in the book: </a:t>
            </a:r>
            <a:r>
              <a:rPr lang="en-US" b="1">
                <a:effectLst/>
              </a:rPr>
              <a:t>Design Patterns - Elements of Reusable Object-Oriented Software</a:t>
            </a:r>
            <a:r>
              <a:rPr lang="en-US"/>
              <a:t>.</a:t>
            </a:r>
          </a:p>
          <a:p>
            <a:pPr marL="171450" indent="-171450">
              <a:buFontTx/>
              <a:buChar char="-"/>
            </a:pPr>
            <a:r>
              <a:rPr lang="en-US" b="1">
                <a:effectLst/>
              </a:rPr>
              <a:t>Design patterns</a:t>
            </a:r>
            <a:r>
              <a:rPr lang="en-US"/>
              <a:t> are typical solutions to commonly occurring problems in software design. They are like pre-made blueprints that you can customize to solve a recurring design problem in your code.</a:t>
            </a:r>
          </a:p>
          <a:p>
            <a:pPr marL="171450" indent="-171450">
              <a:buFontTx/>
              <a:buChar char="-"/>
            </a:pPr>
            <a:r>
              <a:rPr lang="en-US"/>
              <a:t>The </a:t>
            </a:r>
            <a:r>
              <a:rPr lang="en-US" b="1">
                <a:effectLst/>
              </a:rPr>
              <a:t>pattern</a:t>
            </a:r>
            <a:r>
              <a:rPr lang="en-US"/>
              <a:t> is not a specific piece of code, but a </a:t>
            </a:r>
            <a:r>
              <a:rPr lang="en-US" b="1">
                <a:effectLst/>
              </a:rPr>
              <a:t>general concept</a:t>
            </a:r>
            <a:r>
              <a:rPr lang="en-US"/>
              <a:t> for solving a particular problem. You can follow the pattern details and implement a solution that suits the realities of your own program.</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2</a:t>
            </a:fld>
            <a:endParaRPr lang="da-DK"/>
          </a:p>
        </p:txBody>
      </p:sp>
    </p:spTree>
    <p:extLst>
      <p:ext uri="{BB962C8B-B14F-4D97-AF65-F5344CB8AC3E}">
        <p14:creationId xmlns:p14="http://schemas.microsoft.com/office/powerpoint/2010/main" val="11610376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irst introduced in 1994 by the Gang Of Four in the book: </a:t>
            </a:r>
            <a:r>
              <a:rPr lang="en-US" b="1">
                <a:effectLst/>
              </a:rPr>
              <a:t>Design Patterns - Elements of Reusable Object-Oriented Software</a:t>
            </a:r>
            <a:r>
              <a:rPr lang="en-US"/>
              <a:t>.</a:t>
            </a:r>
          </a:p>
          <a:p>
            <a:pPr marL="171450" indent="-171450">
              <a:buFontTx/>
              <a:buChar char="-"/>
            </a:pPr>
            <a:r>
              <a:rPr lang="en-US" b="1">
                <a:effectLst/>
              </a:rPr>
              <a:t>Design patterns</a:t>
            </a:r>
            <a:r>
              <a:rPr lang="en-US"/>
              <a:t> are typical solutions to commonly occurring problems in software design. They are like pre-made blueprints that you can customize to solve a recurring design problem in your code.</a:t>
            </a:r>
          </a:p>
          <a:p>
            <a:pPr marL="171450" indent="-171450">
              <a:buFontTx/>
              <a:buChar char="-"/>
            </a:pPr>
            <a:r>
              <a:rPr lang="en-US"/>
              <a:t>The </a:t>
            </a:r>
            <a:r>
              <a:rPr lang="en-US" b="1">
                <a:effectLst/>
              </a:rPr>
              <a:t>pattern</a:t>
            </a:r>
            <a:r>
              <a:rPr lang="en-US"/>
              <a:t> is not a specific piece of code, but a </a:t>
            </a:r>
            <a:r>
              <a:rPr lang="en-US" b="1">
                <a:effectLst/>
              </a:rPr>
              <a:t>general concept</a:t>
            </a:r>
            <a:r>
              <a:rPr lang="en-US"/>
              <a:t> for solving a particular problem. You can follow the pattern details and implement a solution that suits the realities of your own program.</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3</a:t>
            </a:fld>
            <a:endParaRPr lang="da-DK"/>
          </a:p>
        </p:txBody>
      </p:sp>
    </p:spTree>
    <p:extLst>
      <p:ext uri="{BB962C8B-B14F-4D97-AF65-F5344CB8AC3E}">
        <p14:creationId xmlns:p14="http://schemas.microsoft.com/office/powerpoint/2010/main" val="18992518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irst introduced in 1994 by the Gang Of Four in the book: </a:t>
            </a:r>
            <a:r>
              <a:rPr lang="en-US" b="1">
                <a:effectLst/>
              </a:rPr>
              <a:t>Design Patterns - Elements of Reusable Object-Oriented Software</a:t>
            </a:r>
            <a:r>
              <a:rPr lang="en-US"/>
              <a:t>.</a:t>
            </a:r>
          </a:p>
          <a:p>
            <a:pPr marL="171450" indent="-171450">
              <a:buFontTx/>
              <a:buChar char="-"/>
            </a:pPr>
            <a:r>
              <a:rPr lang="en-US" b="1">
                <a:effectLst/>
              </a:rPr>
              <a:t>Design patterns</a:t>
            </a:r>
            <a:r>
              <a:rPr lang="en-US"/>
              <a:t> are typical solutions to commonly occurring problems in software design. They are like pre-made blueprints that you can customize to solve a recurring design problem in your code.</a:t>
            </a:r>
          </a:p>
          <a:p>
            <a:pPr marL="171450" indent="-171450">
              <a:buFontTx/>
              <a:buChar char="-"/>
            </a:pPr>
            <a:r>
              <a:rPr lang="en-US"/>
              <a:t>The </a:t>
            </a:r>
            <a:r>
              <a:rPr lang="en-US" b="1">
                <a:effectLst/>
              </a:rPr>
              <a:t>pattern</a:t>
            </a:r>
            <a:r>
              <a:rPr lang="en-US"/>
              <a:t> is not a specific piece of code, but a </a:t>
            </a:r>
            <a:r>
              <a:rPr lang="en-US" b="1">
                <a:effectLst/>
              </a:rPr>
              <a:t>general concept</a:t>
            </a:r>
            <a:r>
              <a:rPr lang="en-US"/>
              <a:t> for solving a particular problem. You can follow the pattern details and implement a solution that suits the realities of your own program.</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4</a:t>
            </a:fld>
            <a:endParaRPr lang="da-DK"/>
          </a:p>
        </p:txBody>
      </p:sp>
    </p:spTree>
    <p:extLst>
      <p:ext uri="{BB962C8B-B14F-4D97-AF65-F5344CB8AC3E}">
        <p14:creationId xmlns:p14="http://schemas.microsoft.com/office/powerpoint/2010/main" val="32102355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s both Design patterns and Algorithms resolve problems, the diff between them is: While </a:t>
            </a:r>
            <a:r>
              <a:rPr lang="en-US" b="1">
                <a:effectLst/>
              </a:rPr>
              <a:t>an algorithm</a:t>
            </a:r>
            <a:r>
              <a:rPr lang="en-US"/>
              <a:t> always defines a clear set of actions that can achieve some goal, </a:t>
            </a:r>
            <a:r>
              <a:rPr lang="en-US" b="1">
                <a:effectLst/>
              </a:rPr>
              <a:t>a pattern</a:t>
            </a:r>
            <a:r>
              <a:rPr lang="en-US"/>
              <a:t> is a more high-level description of a solution.</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5</a:t>
            </a:fld>
            <a:endParaRPr lang="da-DK"/>
          </a:p>
        </p:txBody>
      </p:sp>
    </p:spTree>
    <p:extLst>
      <p:ext uri="{BB962C8B-B14F-4D97-AF65-F5344CB8AC3E}">
        <p14:creationId xmlns:p14="http://schemas.microsoft.com/office/powerpoint/2010/main" val="3270010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r>
              <a:rPr lang="en-US"/>
              <a:t>Most patterns are described very formally so people can reproduce them in many contexts. Here are the sections that are usually present in a pattern description: </a:t>
            </a:r>
          </a:p>
          <a:p>
            <a:pPr marL="742950" lvl="1" indent="-285750">
              <a:buFont typeface="Arial" panose="020B0604020202020204" pitchFamily="34" charset="0"/>
              <a:buChar char="•"/>
            </a:pPr>
            <a:r>
              <a:rPr lang="en-US" b="1"/>
              <a:t>Intent</a:t>
            </a:r>
            <a:r>
              <a:rPr lang="en-US"/>
              <a:t> of the pattern briefly describes both the problem and the solution.</a:t>
            </a:r>
          </a:p>
          <a:p>
            <a:pPr marL="742950" lvl="1" indent="-285750">
              <a:buFont typeface="Arial" panose="020B0604020202020204" pitchFamily="34" charset="0"/>
              <a:buChar char="•"/>
            </a:pPr>
            <a:r>
              <a:rPr lang="en-US" b="1"/>
              <a:t>Motivation</a:t>
            </a:r>
            <a:r>
              <a:rPr lang="en-US"/>
              <a:t> further explains the problem and the solution the pattern makes possible.</a:t>
            </a:r>
          </a:p>
          <a:p>
            <a:pPr marL="742950" lvl="1" indent="-285750">
              <a:buFont typeface="Arial" panose="020B0604020202020204" pitchFamily="34" charset="0"/>
              <a:buChar char="•"/>
            </a:pPr>
            <a:r>
              <a:rPr lang="en-US" b="1"/>
              <a:t>Structure</a:t>
            </a:r>
            <a:r>
              <a:rPr lang="en-US"/>
              <a:t> of classes shows each part of the pattern and how they are related.</a:t>
            </a:r>
          </a:p>
          <a:p>
            <a:pPr marL="742950" lvl="1" indent="-285750">
              <a:buFont typeface="Arial" panose="020B0604020202020204" pitchFamily="34" charset="0"/>
              <a:buChar char="•"/>
            </a:pPr>
            <a:r>
              <a:rPr lang="en-US" b="1"/>
              <a:t>Code example</a:t>
            </a:r>
            <a:r>
              <a:rPr lang="en-US"/>
              <a:t> in one of the popular programming languages makes it easier to grasp the idea behind the pattern.</a:t>
            </a:r>
          </a:p>
        </p:txBody>
      </p:sp>
      <p:sp>
        <p:nvSpPr>
          <p:cNvPr id="4" name="Slide Number Placeholder 3"/>
          <p:cNvSpPr>
            <a:spLocks noGrp="1"/>
          </p:cNvSpPr>
          <p:nvPr>
            <p:ph type="sldNum" sz="quarter" idx="10"/>
          </p:nvPr>
        </p:nvSpPr>
        <p:spPr/>
        <p:txBody>
          <a:bodyPr/>
          <a:lstStyle/>
          <a:p>
            <a:fld id="{EFAC016E-5E5F-3248-8F94-DBEB972C2B51}" type="slidenum">
              <a:rPr lang="da-DK" smtClean="0"/>
              <a:t>76</a:t>
            </a:fld>
            <a:endParaRPr lang="da-DK"/>
          </a:p>
        </p:txBody>
      </p:sp>
    </p:spTree>
    <p:extLst>
      <p:ext uri="{BB962C8B-B14F-4D97-AF65-F5344CB8AC3E}">
        <p14:creationId xmlns:p14="http://schemas.microsoft.com/office/powerpoint/2010/main" val="32233089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VC is a design pattern, so what is it?</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77</a:t>
            </a:fld>
            <a:endParaRPr lang="da-DK"/>
          </a:p>
        </p:txBody>
      </p:sp>
    </p:spTree>
    <p:extLst>
      <p:ext uri="{BB962C8B-B14F-4D97-AF65-F5344CB8AC3E}">
        <p14:creationId xmlns:p14="http://schemas.microsoft.com/office/powerpoint/2010/main" val="29697361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Creational design patterns</a:t>
            </a:r>
            <a:r>
              <a:rPr lang="en-US"/>
              <a:t> provide various object creation mechanisms, which increase flexibility and reuse of existing code.</a:t>
            </a:r>
            <a:endParaRPr lang="vi-VN"/>
          </a:p>
        </p:txBody>
      </p:sp>
      <p:sp>
        <p:nvSpPr>
          <p:cNvPr id="4" name="Slide Number Placeholder 3"/>
          <p:cNvSpPr>
            <a:spLocks noGrp="1"/>
          </p:cNvSpPr>
          <p:nvPr>
            <p:ph type="sldNum" sz="quarter" idx="10"/>
          </p:nvPr>
        </p:nvSpPr>
        <p:spPr/>
        <p:txBody>
          <a:bodyPr/>
          <a:lstStyle/>
          <a:p>
            <a:fld id="{EFAC016E-5E5F-3248-8F94-DBEB972C2B51}" type="slidenum">
              <a:rPr lang="da-DK" smtClean="0"/>
              <a:t>78</a:t>
            </a:fld>
            <a:endParaRPr lang="da-DK"/>
          </a:p>
        </p:txBody>
      </p:sp>
    </p:spTree>
    <p:extLst>
      <p:ext uri="{BB962C8B-B14F-4D97-AF65-F5344CB8AC3E}">
        <p14:creationId xmlns:p14="http://schemas.microsoft.com/office/powerpoint/2010/main" val="6395867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u="sng"/>
              <a:t>Structural design patterns</a:t>
            </a:r>
            <a:r>
              <a:rPr lang="en-US"/>
              <a:t> explain how to assemble objects and classes into larger structures while keeping these structures flexible and efficient.</a:t>
            </a:r>
            <a:endParaRPr lang="vi-VN"/>
          </a:p>
        </p:txBody>
      </p:sp>
      <p:sp>
        <p:nvSpPr>
          <p:cNvPr id="4" name="Slide Number Placeholder 3"/>
          <p:cNvSpPr>
            <a:spLocks noGrp="1"/>
          </p:cNvSpPr>
          <p:nvPr>
            <p:ph type="sldNum" sz="quarter" idx="10"/>
          </p:nvPr>
        </p:nvSpPr>
        <p:spPr/>
        <p:txBody>
          <a:bodyPr/>
          <a:lstStyle/>
          <a:p>
            <a:fld id="{EFAC016E-5E5F-3248-8F94-DBEB972C2B51}" type="slidenum">
              <a:rPr lang="da-DK" smtClean="0"/>
              <a:t>79</a:t>
            </a:fld>
            <a:endParaRPr lang="da-DK"/>
          </a:p>
        </p:txBody>
      </p:sp>
    </p:spTree>
    <p:extLst>
      <p:ext uri="{BB962C8B-B14F-4D97-AF65-F5344CB8AC3E}">
        <p14:creationId xmlns:p14="http://schemas.microsoft.com/office/powerpoint/2010/main" val="4255167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u="sng"/>
              <a:t>Structural design patterns</a:t>
            </a:r>
            <a:r>
              <a:rPr lang="en-US"/>
              <a:t> explain how to assemble objects and classes into larger structures while keeping these structures flexible and efficient.</a:t>
            </a:r>
            <a:endParaRPr lang="vi-VN"/>
          </a:p>
        </p:txBody>
      </p:sp>
      <p:sp>
        <p:nvSpPr>
          <p:cNvPr id="4" name="Slide Number Placeholder 3"/>
          <p:cNvSpPr>
            <a:spLocks noGrp="1"/>
          </p:cNvSpPr>
          <p:nvPr>
            <p:ph type="sldNum" sz="quarter" idx="10"/>
          </p:nvPr>
        </p:nvSpPr>
        <p:spPr/>
        <p:txBody>
          <a:bodyPr/>
          <a:lstStyle/>
          <a:p>
            <a:fld id="{EFAC016E-5E5F-3248-8F94-DBEB972C2B51}" type="slidenum">
              <a:rPr lang="da-DK" smtClean="0"/>
              <a:t>80</a:t>
            </a:fld>
            <a:endParaRPr lang="da-DK"/>
          </a:p>
        </p:txBody>
      </p:sp>
    </p:spTree>
    <p:extLst>
      <p:ext uri="{BB962C8B-B14F-4D97-AF65-F5344CB8AC3E}">
        <p14:creationId xmlns:p14="http://schemas.microsoft.com/office/powerpoint/2010/main" val="1335283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10</a:t>
            </a:fld>
            <a:endParaRPr lang="en-US"/>
          </a:p>
        </p:txBody>
      </p:sp>
    </p:spTree>
    <p:extLst>
      <p:ext uri="{BB962C8B-B14F-4D97-AF65-F5344CB8AC3E}">
        <p14:creationId xmlns:p14="http://schemas.microsoft.com/office/powerpoint/2010/main" val="34388544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VC is a design pattern, so what is it?</a:t>
            </a:r>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81</a:t>
            </a:fld>
            <a:endParaRPr lang="da-DK"/>
          </a:p>
        </p:txBody>
      </p:sp>
    </p:spTree>
    <p:extLst>
      <p:ext uri="{BB962C8B-B14F-4D97-AF65-F5344CB8AC3E}">
        <p14:creationId xmlns:p14="http://schemas.microsoft.com/office/powerpoint/2010/main" val="37219452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The idea of </a:t>
            </a:r>
            <a:r>
              <a:rPr lang="en-US" b="1"/>
              <a:t>Design patterns</a:t>
            </a:r>
            <a:r>
              <a:rPr lang="en-US"/>
              <a:t> is solutions to problems. So, you either can use them whenever you </a:t>
            </a:r>
            <a:r>
              <a:rPr lang="en-US" b="1"/>
              <a:t>meet</a:t>
            </a:r>
            <a:r>
              <a:rPr lang="en-US"/>
              <a:t> a problem or just practice the solution to </a:t>
            </a:r>
            <a:r>
              <a:rPr lang="en-US" b="1"/>
              <a:t>prepare</a:t>
            </a:r>
            <a:r>
              <a:rPr lang="en-US"/>
              <a:t> for the problem.</a:t>
            </a:r>
          </a:p>
          <a:p>
            <a:pPr marL="171450" indent="-171450">
              <a:buFontTx/>
              <a:buChar char="-"/>
            </a:pPr>
            <a:endParaRPr lang="en-US"/>
          </a:p>
          <a:p>
            <a:pPr marL="171450" indent="-171450">
              <a:buFontTx/>
              <a:buChar char="-"/>
            </a:pPr>
            <a:r>
              <a:rPr lang="en-US"/>
              <a:t>How to apply:</a:t>
            </a:r>
          </a:p>
          <a:p>
            <a:pPr>
              <a:buFont typeface="+mj-lt"/>
              <a:buAutoNum type="arabicPeriod"/>
            </a:pPr>
            <a:r>
              <a:rPr lang="en-US"/>
              <a:t>Plan the code</a:t>
            </a:r>
          </a:p>
          <a:p>
            <a:pPr>
              <a:buFont typeface="+mj-lt"/>
              <a:buAutoNum type="arabicPeriod"/>
            </a:pPr>
            <a:r>
              <a:rPr lang="en-US"/>
              <a:t>Implementing</a:t>
            </a:r>
          </a:p>
          <a:p>
            <a:pPr>
              <a:buFont typeface="+mj-lt"/>
              <a:buAutoNum type="arabicPeriod"/>
            </a:pPr>
            <a:r>
              <a:rPr lang="en-US"/>
              <a:t>Refactor (👈 put it here)</a:t>
            </a:r>
          </a:p>
        </p:txBody>
      </p:sp>
      <p:sp>
        <p:nvSpPr>
          <p:cNvPr id="4" name="Slide Number Placeholder 3"/>
          <p:cNvSpPr>
            <a:spLocks noGrp="1"/>
          </p:cNvSpPr>
          <p:nvPr>
            <p:ph type="sldNum" sz="quarter" idx="10"/>
          </p:nvPr>
        </p:nvSpPr>
        <p:spPr/>
        <p:txBody>
          <a:bodyPr/>
          <a:lstStyle/>
          <a:p>
            <a:fld id="{EFAC016E-5E5F-3248-8F94-DBEB972C2B51}" type="slidenum">
              <a:rPr lang="da-DK" smtClean="0"/>
              <a:t>82</a:t>
            </a:fld>
            <a:endParaRPr lang="da-DK"/>
          </a:p>
        </p:txBody>
      </p:sp>
    </p:spTree>
    <p:extLst>
      <p:ext uri="{BB962C8B-B14F-4D97-AF65-F5344CB8AC3E}">
        <p14:creationId xmlns:p14="http://schemas.microsoft.com/office/powerpoint/2010/main" val="18364609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232" indent="-161232">
              <a:buFont typeface="Arial" panose="020B0604020202020204" pitchFamily="34" charset="0"/>
              <a:buChar char="•"/>
            </a:pPr>
            <a:endParaRPr lang="en-US" baseline="0" noProof="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FAC016E-5E5F-3248-8F94-DBEB972C2B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7515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a:p>
        </p:txBody>
      </p:sp>
      <p:sp>
        <p:nvSpPr>
          <p:cNvPr id="4" name="Slide Number Placeholder 3"/>
          <p:cNvSpPr>
            <a:spLocks noGrp="1"/>
          </p:cNvSpPr>
          <p:nvPr>
            <p:ph type="sldNum" sz="quarter" idx="5"/>
          </p:nvPr>
        </p:nvSpPr>
        <p:spPr/>
        <p:txBody>
          <a:bodyPr/>
          <a:lstStyle/>
          <a:p>
            <a:fld id="{1EA03336-6844-4A95-9F7F-DC40E32233B4}" type="slidenum">
              <a:rPr lang="vi-VN" smtClean="0"/>
              <a:t>85</a:t>
            </a:fld>
            <a:endParaRPr lang="vi-VN"/>
          </a:p>
        </p:txBody>
      </p:sp>
    </p:spTree>
    <p:extLst>
      <p:ext uri="{BB962C8B-B14F-4D97-AF65-F5344CB8AC3E}">
        <p14:creationId xmlns:p14="http://schemas.microsoft.com/office/powerpoint/2010/main" val="2565107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11</a:t>
            </a:fld>
            <a:endParaRPr lang="en-US"/>
          </a:p>
        </p:txBody>
      </p:sp>
    </p:spTree>
    <p:extLst>
      <p:ext uri="{BB962C8B-B14F-4D97-AF65-F5344CB8AC3E}">
        <p14:creationId xmlns:p14="http://schemas.microsoft.com/office/powerpoint/2010/main" val="2620796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1232" indent="-161232">
              <a:buFont typeface="Arial" panose="020B0604020202020204" pitchFamily="34" charset="0"/>
              <a:buChar char="•"/>
            </a:pPr>
            <a:r>
              <a:rPr lang="en-US" noProof="0"/>
              <a:t>We going</a:t>
            </a:r>
            <a:r>
              <a:rPr lang="en-US" baseline="0" noProof="0"/>
              <a:t> to spend the rest of the afternoon to let you experience some of the secrets behind the most successful IT business in Scandinavia</a:t>
            </a:r>
          </a:p>
          <a:p>
            <a:pPr marL="161232" indent="-161232">
              <a:buFont typeface="Arial" panose="020B0604020202020204" pitchFamily="34" charset="0"/>
              <a:buChar char="•"/>
            </a:pPr>
            <a:r>
              <a:rPr lang="en-US" baseline="0" noProof="0"/>
              <a:t>First, we will give you a small piece of insight into working in Netcompany and a bit of information about </a:t>
            </a:r>
            <a:r>
              <a:rPr lang="en-US" noProof="0"/>
              <a:t>the company profile</a:t>
            </a:r>
          </a:p>
          <a:p>
            <a:pPr marL="504132" lvl="1" indent="-161232" defTabSz="429951">
              <a:buFont typeface="Arial" panose="020B0604020202020204" pitchFamily="34" charset="0"/>
              <a:buChar char="•"/>
              <a:defRPr/>
            </a:pPr>
            <a:r>
              <a:rPr lang="en-US" baseline="0" noProof="0"/>
              <a:t>But what is it we do, and how do we do it better than our competitors</a:t>
            </a:r>
            <a:endParaRPr lang="en-US" noProof="0"/>
          </a:p>
          <a:p>
            <a:pPr marL="161232" indent="-161232">
              <a:buFont typeface="Arial" panose="020B0604020202020204" pitchFamily="34" charset="0"/>
              <a:buChar char="•"/>
            </a:pPr>
            <a:endParaRPr lang="en-US" baseline="0" noProof="0"/>
          </a:p>
          <a:p>
            <a:pPr marL="161232" indent="-161232">
              <a:buFont typeface="Arial" panose="020B0604020202020204" pitchFamily="34" charset="0"/>
              <a:buChar char="•"/>
            </a:pPr>
            <a:r>
              <a:rPr lang="en-US" baseline="0" noProof="0"/>
              <a:t>The goal of the afternoon is to give you an impression of how it is to work in a Netcompany team, and we are going to do that by working on a real life case. </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FAC016E-5E5F-3248-8F94-DBEB972C2B5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9828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C725F20D-56F2-4B18-90FA-3AB2DA0978F2}" type="slidenum">
              <a:rPr lang="en-US" smtClean="0"/>
              <a:t>14</a:t>
            </a:fld>
            <a:endParaRPr lang="en-US"/>
          </a:p>
        </p:txBody>
      </p:sp>
    </p:spTree>
    <p:extLst>
      <p:ext uri="{BB962C8B-B14F-4D97-AF65-F5344CB8AC3E}">
        <p14:creationId xmlns:p14="http://schemas.microsoft.com/office/powerpoint/2010/main" val="3119736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EFAC016E-5E5F-3248-8F94-DBEB972C2B51}" type="slidenum">
              <a:rPr lang="da-DK" smtClean="0"/>
              <a:t>15</a:t>
            </a:fld>
            <a:endParaRPr lang="da-DK"/>
          </a:p>
        </p:txBody>
      </p:sp>
    </p:spTree>
    <p:extLst>
      <p:ext uri="{BB962C8B-B14F-4D97-AF65-F5344CB8AC3E}">
        <p14:creationId xmlns:p14="http://schemas.microsoft.com/office/powerpoint/2010/main" val="4277552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p:txBody>
          <a:bodyPr/>
          <a:lstStyle/>
          <a:p>
            <a:r>
              <a:rPr lang="en-US" noProof="0"/>
              <a:t>Add client name in "Header and footer" or place logo here</a:t>
            </a:r>
          </a:p>
        </p:txBody>
      </p:sp>
      <p:sp>
        <p:nvSpPr>
          <p:cNvPr id="3" name="Title 2">
            <a:extLst>
              <a:ext uri="{FF2B5EF4-FFF2-40B4-BE49-F238E27FC236}">
                <a16:creationId xmlns:a16="http://schemas.microsoft.com/office/drawing/2014/main" id="{8E3D2A6F-6DE4-C141-AB3A-764E4AD09F9A}"/>
              </a:ext>
            </a:extLst>
          </p:cNvPr>
          <p:cNvSpPr>
            <a:spLocks noGrp="1"/>
          </p:cNvSpPr>
          <p:nvPr>
            <p:ph type="title"/>
          </p:nvPr>
        </p:nvSpPr>
        <p:spPr>
          <a:xfrm>
            <a:off x="711533" y="613433"/>
            <a:ext cx="10742927" cy="452408"/>
          </a:xfrm>
        </p:spPr>
        <p:txBody>
          <a:bodyPr/>
          <a:lstStyle/>
          <a:p>
            <a:r>
              <a:rPr lang="en-US" noProof="0"/>
              <a:t>Click to edit Master title style</a:t>
            </a:r>
          </a:p>
        </p:txBody>
      </p:sp>
    </p:spTree>
    <p:extLst>
      <p:ext uri="{BB962C8B-B14F-4D97-AF65-F5344CB8AC3E}">
        <p14:creationId xmlns:p14="http://schemas.microsoft.com/office/powerpoint/2010/main" val="796395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lumn and quote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D7D860-AB02-0343-AD7F-DC678A61E430}"/>
              </a:ext>
            </a:extLst>
          </p:cNvPr>
          <p:cNvSpPr/>
          <p:nvPr userDrawn="1"/>
        </p:nvSpPr>
        <p:spPr>
          <a:xfrm>
            <a:off x="6096001" y="211667"/>
            <a:ext cx="5905500" cy="6434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a:xfrm>
            <a:off x="6371463" y="6384210"/>
            <a:ext cx="4114800" cy="262125"/>
          </a:xfrm>
        </p:spPr>
        <p:txBody>
          <a:bodyPr/>
          <a:lstStyle>
            <a:lvl1pPr>
              <a:defRPr>
                <a:solidFill>
                  <a:schemeClr val="bg1"/>
                </a:solidFill>
              </a:defRPr>
            </a:lvl1pPr>
          </a:lstStyle>
          <a:p>
            <a:r>
              <a:rPr lang="en-US" noProof="0"/>
              <a:t>Add client name in "Header and footer" or place logo here</a:t>
            </a:r>
          </a:p>
        </p:txBody>
      </p:sp>
      <p:sp>
        <p:nvSpPr>
          <p:cNvPr id="9" name="Content Placeholder 2">
            <a:extLst>
              <a:ext uri="{FF2B5EF4-FFF2-40B4-BE49-F238E27FC236}">
                <a16:creationId xmlns:a16="http://schemas.microsoft.com/office/drawing/2014/main" id="{775167DF-EFAC-764D-B6D0-1D978083656F}"/>
              </a:ext>
            </a:extLst>
          </p:cNvPr>
          <p:cNvSpPr>
            <a:spLocks noGrp="1"/>
          </p:cNvSpPr>
          <p:nvPr>
            <p:ph idx="13"/>
          </p:nvPr>
        </p:nvSpPr>
        <p:spPr>
          <a:xfrm>
            <a:off x="7021192" y="2799512"/>
            <a:ext cx="4177760" cy="2382088"/>
          </a:xfrm>
        </p:spPr>
        <p:txBody>
          <a:bodyPr/>
          <a:lstStyle>
            <a:lvl1pPr marL="0" indent="0">
              <a:buClr>
                <a:schemeClr val="bg1"/>
              </a:buClr>
              <a:buFontTx/>
              <a:buNone/>
              <a:tabLst>
                <a:tab pos="2482789" algn="l"/>
              </a:tabLst>
              <a:defRPr b="1" i="1">
                <a:solidFill>
                  <a:schemeClr val="accent4"/>
                </a:solidFill>
              </a:defRPr>
            </a:lvl1pPr>
            <a:lvl2pPr marL="457189" indent="0">
              <a:buClr>
                <a:schemeClr val="bg1"/>
              </a:buClr>
              <a:buFontTx/>
              <a:buNone/>
              <a:defRPr b="1" i="1">
                <a:solidFill>
                  <a:schemeClr val="accent4"/>
                </a:solidFill>
              </a:defRPr>
            </a:lvl2pPr>
            <a:lvl3pPr marL="914377" indent="0">
              <a:buClr>
                <a:schemeClr val="bg1"/>
              </a:buClr>
              <a:buFontTx/>
              <a:buNone/>
              <a:defRPr b="1" i="1">
                <a:solidFill>
                  <a:schemeClr val="accent4"/>
                </a:solidFill>
              </a:defRPr>
            </a:lvl3pPr>
            <a:lvl4pPr marL="1371566" indent="0">
              <a:buClr>
                <a:schemeClr val="bg1"/>
              </a:buClr>
              <a:buFontTx/>
              <a:buNone/>
              <a:defRPr b="1" i="1">
                <a:solidFill>
                  <a:schemeClr val="accent4"/>
                </a:solidFill>
              </a:defRPr>
            </a:lvl4pPr>
            <a:lvl5pPr marL="1828754" indent="0">
              <a:buClr>
                <a:schemeClr val="bg1"/>
              </a:buClr>
              <a:buFontTx/>
              <a:buNone/>
              <a:defRPr b="1" i="1">
                <a:solidFill>
                  <a:schemeClr val="accent4"/>
                </a:solidFill>
              </a:defRPr>
            </a:lvl5pPr>
          </a:lstStyle>
          <a:p>
            <a:pPr lvl="0"/>
            <a:r>
              <a:rPr lang="en-US" noProof="0"/>
              <a:t>Click to edit Master text styles</a:t>
            </a:r>
          </a:p>
        </p:txBody>
      </p:sp>
      <p:sp>
        <p:nvSpPr>
          <p:cNvPr id="11" name="Tekstfelt 1">
            <a:extLst>
              <a:ext uri="{FF2B5EF4-FFF2-40B4-BE49-F238E27FC236}">
                <a16:creationId xmlns:a16="http://schemas.microsoft.com/office/drawing/2014/main" id="{B3E61175-05F9-EF42-83BC-FDFD379CC0A2}"/>
              </a:ext>
            </a:extLst>
          </p:cNvPr>
          <p:cNvSpPr txBox="1"/>
          <p:nvPr userDrawn="1"/>
        </p:nvSpPr>
        <p:spPr>
          <a:xfrm>
            <a:off x="6868729" y="2074784"/>
            <a:ext cx="895903" cy="1354217"/>
          </a:xfrm>
          <a:prstGeom prst="rect">
            <a:avLst/>
          </a:prstGeom>
          <a:noFill/>
        </p:spPr>
        <p:txBody>
          <a:bodyPr wrap="square" rtlCol="0">
            <a:spAutoFit/>
          </a:bodyPr>
          <a:lstStyle/>
          <a:p>
            <a:r>
              <a:rPr lang="en-US" sz="8000" noProof="0">
                <a:solidFill>
                  <a:srgbClr val="E7675A"/>
                </a:solidFill>
              </a:rPr>
              <a:t>“</a:t>
            </a:r>
          </a:p>
        </p:txBody>
      </p:sp>
      <p:sp>
        <p:nvSpPr>
          <p:cNvPr id="10" name="Text Placeholder 5">
            <a:extLst>
              <a:ext uri="{FF2B5EF4-FFF2-40B4-BE49-F238E27FC236}">
                <a16:creationId xmlns:a16="http://schemas.microsoft.com/office/drawing/2014/main" id="{35FEAC2A-37DC-8941-95AF-394E4C4A74FE}"/>
              </a:ext>
            </a:extLst>
          </p:cNvPr>
          <p:cNvSpPr>
            <a:spLocks noGrp="1"/>
          </p:cNvSpPr>
          <p:nvPr>
            <p:ph type="body" sz="quarter" idx="16"/>
          </p:nvPr>
        </p:nvSpPr>
        <p:spPr>
          <a:xfrm>
            <a:off x="719667" y="1403231"/>
            <a:ext cx="5103284" cy="4762620"/>
          </a:xfrm>
        </p:spPr>
        <p:txBody>
          <a:bodyPr/>
          <a:lstStyle>
            <a:lvl1pPr marL="0" indent="0">
              <a:buFontTx/>
              <a:buNone/>
              <a:defRPr/>
            </a:lvl1pPr>
            <a:lvl2pPr marL="416972" indent="0">
              <a:buFontTx/>
              <a:buNone/>
              <a:defRPr/>
            </a:lvl2pPr>
            <a:lvl3pPr marL="914377" indent="0">
              <a:buFontTx/>
              <a:buNone/>
              <a:defRPr/>
            </a:lvl3pPr>
            <a:lvl4pPr marL="1371566" indent="0">
              <a:buFontTx/>
              <a:buNone/>
              <a:defRPr/>
            </a:lvl4pPr>
            <a:lvl5pPr marL="1828754" indent="0">
              <a:buFontTx/>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4">
            <a:extLst>
              <a:ext uri="{FF2B5EF4-FFF2-40B4-BE49-F238E27FC236}">
                <a16:creationId xmlns:a16="http://schemas.microsoft.com/office/drawing/2014/main" id="{82013050-2CD0-8C46-A175-8C8436CB803A}"/>
              </a:ext>
            </a:extLst>
          </p:cNvPr>
          <p:cNvSpPr>
            <a:spLocks noGrp="1"/>
          </p:cNvSpPr>
          <p:nvPr>
            <p:ph type="title"/>
          </p:nvPr>
        </p:nvSpPr>
        <p:spPr>
          <a:xfrm>
            <a:off x="711533" y="621103"/>
            <a:ext cx="5111419" cy="452408"/>
          </a:xfrm>
        </p:spPr>
        <p:txBody>
          <a:bodyPr/>
          <a:lstStyle/>
          <a:p>
            <a:r>
              <a:rPr lang="en-US" noProof="0"/>
              <a:t>Click to edit Master title style</a:t>
            </a:r>
          </a:p>
        </p:txBody>
      </p:sp>
      <p:sp>
        <p:nvSpPr>
          <p:cNvPr id="13" name="TextBox 12">
            <a:extLst>
              <a:ext uri="{FF2B5EF4-FFF2-40B4-BE49-F238E27FC236}">
                <a16:creationId xmlns:a16="http://schemas.microsoft.com/office/drawing/2014/main" id="{DDCE770B-255F-9C4C-8223-9478899CD8D4}"/>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solidFill>
                  <a:schemeClr val="bg1"/>
                </a:solidFill>
              </a:rPr>
              <a:pPr algn="r"/>
              <a:t>‹#›</a:t>
            </a:fld>
            <a:endParaRPr lang="en-US" sz="1067" noProof="0">
              <a:solidFill>
                <a:schemeClr val="bg1"/>
              </a:solidFill>
            </a:endParaRPr>
          </a:p>
        </p:txBody>
      </p:sp>
    </p:spTree>
    <p:extLst>
      <p:ext uri="{BB962C8B-B14F-4D97-AF65-F5344CB8AC3E}">
        <p14:creationId xmlns:p14="http://schemas.microsoft.com/office/powerpoint/2010/main" val="606161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p:txBody>
          <a:bodyPr/>
          <a:lstStyle/>
          <a:p>
            <a:r>
              <a:rPr lang="en-US" noProof="0"/>
              <a:t>Add client name in "Header and footer" or place logo here</a:t>
            </a:r>
          </a:p>
        </p:txBody>
      </p:sp>
      <p:sp>
        <p:nvSpPr>
          <p:cNvPr id="3" name="Title 2">
            <a:extLst>
              <a:ext uri="{FF2B5EF4-FFF2-40B4-BE49-F238E27FC236}">
                <a16:creationId xmlns:a16="http://schemas.microsoft.com/office/drawing/2014/main" id="{8E3D2A6F-6DE4-C141-AB3A-764E4AD09F9A}"/>
              </a:ext>
            </a:extLst>
          </p:cNvPr>
          <p:cNvSpPr>
            <a:spLocks noGrp="1"/>
          </p:cNvSpPr>
          <p:nvPr>
            <p:ph type="title"/>
          </p:nvPr>
        </p:nvSpPr>
        <p:spPr>
          <a:xfrm>
            <a:off x="711533" y="613433"/>
            <a:ext cx="10742927" cy="452408"/>
          </a:xfrm>
        </p:spPr>
        <p:txBody>
          <a:bodyPr/>
          <a:lstStyle/>
          <a:p>
            <a:r>
              <a:rPr lang="en-US" noProof="0"/>
              <a:t>Click to edit Master title style</a:t>
            </a:r>
          </a:p>
        </p:txBody>
      </p:sp>
    </p:spTree>
    <p:extLst>
      <p:ext uri="{BB962C8B-B14F-4D97-AF65-F5344CB8AC3E}">
        <p14:creationId xmlns:p14="http://schemas.microsoft.com/office/powerpoint/2010/main" val="1976946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 bullets">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p:txBody>
          <a:bodyPr/>
          <a:lstStyle/>
          <a:p>
            <a:r>
              <a:rPr lang="en-US" noProof="0"/>
              <a:t>Add client name in "Header and footer" or place logo here</a:t>
            </a:r>
          </a:p>
        </p:txBody>
      </p:sp>
      <p:sp>
        <p:nvSpPr>
          <p:cNvPr id="5" name="Title 4">
            <a:extLst>
              <a:ext uri="{FF2B5EF4-FFF2-40B4-BE49-F238E27FC236}">
                <a16:creationId xmlns:a16="http://schemas.microsoft.com/office/drawing/2014/main" id="{1719FE9C-07C8-244B-A763-5D7AF1910283}"/>
              </a:ext>
            </a:extLst>
          </p:cNvPr>
          <p:cNvSpPr>
            <a:spLocks noGrp="1"/>
          </p:cNvSpPr>
          <p:nvPr>
            <p:ph type="title" hasCustomPrompt="1"/>
          </p:nvPr>
        </p:nvSpPr>
        <p:spPr>
          <a:xfrm>
            <a:off x="711533" y="636439"/>
            <a:ext cx="10760801" cy="437072"/>
          </a:xfrm>
        </p:spPr>
        <p:txBody>
          <a:bodyPr/>
          <a:lstStyle/>
          <a:p>
            <a:r>
              <a:rPr lang="en-US" noProof="0"/>
              <a:t>Add title or agenda</a:t>
            </a:r>
          </a:p>
        </p:txBody>
      </p:sp>
      <p:sp>
        <p:nvSpPr>
          <p:cNvPr id="14" name="Text Placeholder 13">
            <a:extLst>
              <a:ext uri="{FF2B5EF4-FFF2-40B4-BE49-F238E27FC236}">
                <a16:creationId xmlns:a16="http://schemas.microsoft.com/office/drawing/2014/main" id="{E7F9A4EF-1E7A-6F4E-A242-3290FFD066D3}"/>
              </a:ext>
            </a:extLst>
          </p:cNvPr>
          <p:cNvSpPr>
            <a:spLocks noGrp="1"/>
          </p:cNvSpPr>
          <p:nvPr>
            <p:ph type="body" sz="quarter" idx="12"/>
          </p:nvPr>
        </p:nvSpPr>
        <p:spPr>
          <a:xfrm>
            <a:off x="711533" y="1403231"/>
            <a:ext cx="10760801" cy="476262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4344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D7D860-AB02-0343-AD7F-DC678A61E430}"/>
              </a:ext>
            </a:extLst>
          </p:cNvPr>
          <p:cNvSpPr/>
          <p:nvPr userDrawn="1"/>
        </p:nvSpPr>
        <p:spPr>
          <a:xfrm>
            <a:off x="6096001" y="211667"/>
            <a:ext cx="5905500" cy="6434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a:xfrm>
            <a:off x="6371463" y="6384210"/>
            <a:ext cx="4114800" cy="262125"/>
          </a:xfrm>
        </p:spPr>
        <p:txBody>
          <a:bodyPr/>
          <a:lstStyle>
            <a:lvl1pPr>
              <a:defRPr>
                <a:solidFill>
                  <a:schemeClr val="bg1"/>
                </a:solidFill>
              </a:defRPr>
            </a:lvl1pPr>
          </a:lstStyle>
          <a:p>
            <a:r>
              <a:rPr lang="en-US" noProof="0"/>
              <a:t>Add client name in "Header and footer" or place logo here</a:t>
            </a:r>
          </a:p>
        </p:txBody>
      </p:sp>
      <p:sp>
        <p:nvSpPr>
          <p:cNvPr id="3" name="Title 2">
            <a:extLst>
              <a:ext uri="{FF2B5EF4-FFF2-40B4-BE49-F238E27FC236}">
                <a16:creationId xmlns:a16="http://schemas.microsoft.com/office/drawing/2014/main" id="{59293941-513E-9349-BDBF-84A987154E9E}"/>
              </a:ext>
            </a:extLst>
          </p:cNvPr>
          <p:cNvSpPr>
            <a:spLocks noGrp="1"/>
          </p:cNvSpPr>
          <p:nvPr>
            <p:ph type="title"/>
          </p:nvPr>
        </p:nvSpPr>
        <p:spPr>
          <a:xfrm>
            <a:off x="711533" y="613434"/>
            <a:ext cx="5111419" cy="444740"/>
          </a:xfrm>
        </p:spPr>
        <p:txBody>
          <a:bodyPr/>
          <a:lstStyle/>
          <a:p>
            <a:r>
              <a:rPr lang="en-US" noProof="0"/>
              <a:t>Click to edit Master title style</a:t>
            </a:r>
          </a:p>
        </p:txBody>
      </p:sp>
      <p:sp>
        <p:nvSpPr>
          <p:cNvPr id="6" name="Text Placeholder 5">
            <a:extLst>
              <a:ext uri="{FF2B5EF4-FFF2-40B4-BE49-F238E27FC236}">
                <a16:creationId xmlns:a16="http://schemas.microsoft.com/office/drawing/2014/main" id="{6FDB0D81-F352-AE4F-A936-C3D8C4AE5193}"/>
              </a:ext>
            </a:extLst>
          </p:cNvPr>
          <p:cNvSpPr>
            <a:spLocks noGrp="1"/>
          </p:cNvSpPr>
          <p:nvPr>
            <p:ph type="body" sz="quarter" idx="16"/>
          </p:nvPr>
        </p:nvSpPr>
        <p:spPr>
          <a:xfrm>
            <a:off x="719667" y="1410899"/>
            <a:ext cx="5103284" cy="475495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5">
            <a:extLst>
              <a:ext uri="{FF2B5EF4-FFF2-40B4-BE49-F238E27FC236}">
                <a16:creationId xmlns:a16="http://schemas.microsoft.com/office/drawing/2014/main" id="{88CE0523-219C-4D46-9AB9-3FC871B17393}"/>
              </a:ext>
            </a:extLst>
          </p:cNvPr>
          <p:cNvSpPr>
            <a:spLocks noGrp="1"/>
          </p:cNvSpPr>
          <p:nvPr>
            <p:ph type="body" sz="quarter" idx="17"/>
          </p:nvPr>
        </p:nvSpPr>
        <p:spPr>
          <a:xfrm>
            <a:off x="6363418" y="1410899"/>
            <a:ext cx="5103284" cy="47549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A39155C1-C59B-FC4C-804E-0F086BAC1732}"/>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solidFill>
                  <a:schemeClr val="bg1"/>
                </a:solidFill>
              </a:rPr>
              <a:pPr algn="r"/>
              <a:t>‹#›</a:t>
            </a:fld>
            <a:endParaRPr lang="en-US" sz="1067" noProof="0">
              <a:solidFill>
                <a:schemeClr val="bg1"/>
              </a:solidFill>
            </a:endParaRPr>
          </a:p>
        </p:txBody>
      </p:sp>
    </p:spTree>
    <p:extLst>
      <p:ext uri="{BB962C8B-B14F-4D97-AF65-F5344CB8AC3E}">
        <p14:creationId xmlns:p14="http://schemas.microsoft.com/office/powerpoint/2010/main" val="207558601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bullets">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p:txBody>
          <a:bodyPr/>
          <a:lstStyle/>
          <a:p>
            <a:r>
              <a:rPr lang="en-US" noProof="0"/>
              <a:t>Add client name in "Header and footer" or place logo here</a:t>
            </a:r>
          </a:p>
        </p:txBody>
      </p:sp>
      <p:sp>
        <p:nvSpPr>
          <p:cNvPr id="5" name="Title 4">
            <a:extLst>
              <a:ext uri="{FF2B5EF4-FFF2-40B4-BE49-F238E27FC236}">
                <a16:creationId xmlns:a16="http://schemas.microsoft.com/office/drawing/2014/main" id="{1719FE9C-07C8-244B-A763-5D7AF1910283}"/>
              </a:ext>
            </a:extLst>
          </p:cNvPr>
          <p:cNvSpPr>
            <a:spLocks noGrp="1"/>
          </p:cNvSpPr>
          <p:nvPr>
            <p:ph type="title" hasCustomPrompt="1"/>
          </p:nvPr>
        </p:nvSpPr>
        <p:spPr>
          <a:xfrm>
            <a:off x="711533" y="636439"/>
            <a:ext cx="10760801" cy="437072"/>
          </a:xfrm>
        </p:spPr>
        <p:txBody>
          <a:bodyPr/>
          <a:lstStyle/>
          <a:p>
            <a:r>
              <a:rPr lang="en-US" noProof="0"/>
              <a:t>Add title or agenda</a:t>
            </a:r>
          </a:p>
        </p:txBody>
      </p:sp>
      <p:sp>
        <p:nvSpPr>
          <p:cNvPr id="14" name="Text Placeholder 13">
            <a:extLst>
              <a:ext uri="{FF2B5EF4-FFF2-40B4-BE49-F238E27FC236}">
                <a16:creationId xmlns:a16="http://schemas.microsoft.com/office/drawing/2014/main" id="{E7F9A4EF-1E7A-6F4E-A242-3290FFD066D3}"/>
              </a:ext>
            </a:extLst>
          </p:cNvPr>
          <p:cNvSpPr>
            <a:spLocks noGrp="1"/>
          </p:cNvSpPr>
          <p:nvPr>
            <p:ph type="body" sz="quarter" idx="12"/>
          </p:nvPr>
        </p:nvSpPr>
        <p:spPr>
          <a:xfrm>
            <a:off x="711533" y="1403231"/>
            <a:ext cx="10760801" cy="476262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32747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page - projects">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76DDED2-82DF-B842-B46F-9F947CAF8CF0}"/>
              </a:ext>
            </a:extLst>
          </p:cNvPr>
          <p:cNvSpPr>
            <a:spLocks noGrp="1"/>
          </p:cNvSpPr>
          <p:nvPr>
            <p:ph type="ctrTitle" hasCustomPrompt="1"/>
          </p:nvPr>
        </p:nvSpPr>
        <p:spPr>
          <a:xfrm>
            <a:off x="1501481" y="1780800"/>
            <a:ext cx="6719729" cy="1385216"/>
          </a:xfrm>
        </p:spPr>
        <p:txBody>
          <a:bodyPr lIns="0" tIns="0" rIns="0" bIns="0" anchor="t" anchorCtr="0">
            <a:noAutofit/>
          </a:bodyPr>
          <a:lstStyle>
            <a:lvl1pPr algn="l">
              <a:lnSpc>
                <a:spcPts val="5333"/>
              </a:lnSpc>
              <a:defRPr sz="5867" cap="all" baseline="0">
                <a:solidFill>
                  <a:schemeClr val="bg1"/>
                </a:solidFill>
              </a:defRPr>
            </a:lvl1pPr>
          </a:lstStyle>
          <a:p>
            <a:r>
              <a:rPr lang="en-US" noProof="0"/>
              <a:t>Presentation Title HERE</a:t>
            </a:r>
          </a:p>
        </p:txBody>
      </p:sp>
      <p:sp>
        <p:nvSpPr>
          <p:cNvPr id="3" name="Text Placeholder 2">
            <a:extLst>
              <a:ext uri="{FF2B5EF4-FFF2-40B4-BE49-F238E27FC236}">
                <a16:creationId xmlns:a16="http://schemas.microsoft.com/office/drawing/2014/main" id="{05DC779E-2811-B14E-9974-985F7B8F9315}"/>
              </a:ext>
            </a:extLst>
          </p:cNvPr>
          <p:cNvSpPr>
            <a:spLocks noGrp="1"/>
          </p:cNvSpPr>
          <p:nvPr>
            <p:ph type="body" sz="quarter" idx="12" hasCustomPrompt="1"/>
          </p:nvPr>
        </p:nvSpPr>
        <p:spPr>
          <a:xfrm>
            <a:off x="1534583" y="1303556"/>
            <a:ext cx="1764128" cy="273267"/>
          </a:xfrm>
          <a:solidFill>
            <a:schemeClr val="accent4"/>
          </a:solidFill>
        </p:spPr>
        <p:txBody>
          <a:bodyPr wrap="square" lIns="90000" tIns="54000" rIns="90000" bIns="54000" anchor="ctr" anchorCtr="0">
            <a:spAutoFit/>
          </a:bodyPr>
          <a:lstStyle>
            <a:lvl1pPr marL="0" indent="0" algn="l">
              <a:buFontTx/>
              <a:buNone/>
              <a:defRPr sz="1067" b="1" cap="all" baseline="0">
                <a:solidFill>
                  <a:schemeClr val="bg1"/>
                </a:solidFill>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US" noProof="0"/>
              <a:t>Name of client or logo</a:t>
            </a:r>
          </a:p>
        </p:txBody>
      </p:sp>
      <p:sp>
        <p:nvSpPr>
          <p:cNvPr id="37" name="Text Placeholder 10">
            <a:extLst>
              <a:ext uri="{FF2B5EF4-FFF2-40B4-BE49-F238E27FC236}">
                <a16:creationId xmlns:a16="http://schemas.microsoft.com/office/drawing/2014/main" id="{97BFF3BF-506C-DF44-9146-4A56F7D7EF89}"/>
              </a:ext>
            </a:extLst>
          </p:cNvPr>
          <p:cNvSpPr>
            <a:spLocks noGrp="1"/>
          </p:cNvSpPr>
          <p:nvPr>
            <p:ph type="body" sz="quarter" idx="16" hasCustomPrompt="1"/>
          </p:nvPr>
        </p:nvSpPr>
        <p:spPr>
          <a:xfrm>
            <a:off x="1534580" y="4754308"/>
            <a:ext cx="1550400" cy="205473"/>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33">
                <a:solidFill>
                  <a:srgbClr val="FF0000"/>
                </a:solidFill>
              </a:defRPr>
            </a:lvl1pPr>
          </a:lstStyle>
          <a:p>
            <a:pPr lvl="0"/>
            <a:r>
              <a:rPr lang="en-US" noProof="0"/>
              <a:t>.</a:t>
            </a:r>
          </a:p>
        </p:txBody>
      </p:sp>
      <p:sp>
        <p:nvSpPr>
          <p:cNvPr id="7" name="Tekstfelt 23">
            <a:extLst>
              <a:ext uri="{FF2B5EF4-FFF2-40B4-BE49-F238E27FC236}">
                <a16:creationId xmlns:a16="http://schemas.microsoft.com/office/drawing/2014/main" id="{15BED603-7AA8-EF89-F160-32E1CBFB2642}"/>
              </a:ext>
            </a:extLst>
          </p:cNvPr>
          <p:cNvSpPr txBox="1"/>
          <p:nvPr userDrawn="1"/>
        </p:nvSpPr>
        <p:spPr>
          <a:xfrm>
            <a:off x="69654" y="6298262"/>
            <a:ext cx="12052693" cy="164148"/>
          </a:xfrm>
          <a:prstGeom prst="rect">
            <a:avLst/>
          </a:prstGeom>
          <a:noFill/>
        </p:spPr>
        <p:txBody>
          <a:bodyPr wrap="square" lIns="0" tIns="0" rIns="0" bIns="0" rtlCol="0">
            <a:spAutoFit/>
          </a:bodyPr>
          <a:lstStyle/>
          <a:p>
            <a:pPr marL="14112" algn="ctr"/>
            <a:r>
              <a:rPr lang="da-DK" sz="1067" noProof="0">
                <a:solidFill>
                  <a:schemeClr val="bg1"/>
                </a:solidFill>
                <a:latin typeface="+mn-lt"/>
                <a:cs typeface="Arial" panose="020B0604020202020204" pitchFamily="34" charset="0"/>
              </a:rPr>
              <a:t>© Copyright Netcompany</a:t>
            </a:r>
          </a:p>
        </p:txBody>
      </p:sp>
    </p:spTree>
    <p:extLst>
      <p:ext uri="{BB962C8B-B14F-4D97-AF65-F5344CB8AC3E}">
        <p14:creationId xmlns:p14="http://schemas.microsoft.com/office/powerpoint/2010/main" val="4045960848"/>
      </p:ext>
    </p:extLst>
  </p:cSld>
  <p:clrMapOvr>
    <a:masterClrMapping/>
  </p:clrMapOvr>
  <p:extLst>
    <p:ext uri="{DCECCB84-F9BA-43D5-87BE-67443E8EF086}">
      <p15:sldGuideLst xmlns:p15="http://schemas.microsoft.com/office/powerpoint/2012/main">
        <p15:guide id="1" pos="96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D7D860-AB02-0343-AD7F-DC678A61E430}"/>
              </a:ext>
            </a:extLst>
          </p:cNvPr>
          <p:cNvSpPr/>
          <p:nvPr userDrawn="1"/>
        </p:nvSpPr>
        <p:spPr>
          <a:xfrm>
            <a:off x="6096001" y="211667"/>
            <a:ext cx="5905500" cy="6434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7" name="Footer Placeholder 6">
            <a:extLst>
              <a:ext uri="{FF2B5EF4-FFF2-40B4-BE49-F238E27FC236}">
                <a16:creationId xmlns:a16="http://schemas.microsoft.com/office/drawing/2014/main" id="{A528FEE7-F840-2C49-80F8-2E5AF3F15A7A}"/>
              </a:ext>
            </a:extLst>
          </p:cNvPr>
          <p:cNvSpPr>
            <a:spLocks noGrp="1"/>
          </p:cNvSpPr>
          <p:nvPr>
            <p:ph type="ftr" sz="quarter" idx="10"/>
          </p:nvPr>
        </p:nvSpPr>
        <p:spPr>
          <a:xfrm>
            <a:off x="6371463" y="6384210"/>
            <a:ext cx="4114800" cy="262125"/>
          </a:xfrm>
        </p:spPr>
        <p:txBody>
          <a:bodyPr/>
          <a:lstStyle>
            <a:lvl1pPr>
              <a:defRPr>
                <a:solidFill>
                  <a:schemeClr val="bg1"/>
                </a:solidFill>
              </a:defRPr>
            </a:lvl1pPr>
          </a:lstStyle>
          <a:p>
            <a:r>
              <a:rPr lang="en-US" noProof="0"/>
              <a:t>Add client name in "Header and footer" or place logo here</a:t>
            </a:r>
          </a:p>
        </p:txBody>
      </p:sp>
      <p:sp>
        <p:nvSpPr>
          <p:cNvPr id="3" name="Title 2">
            <a:extLst>
              <a:ext uri="{FF2B5EF4-FFF2-40B4-BE49-F238E27FC236}">
                <a16:creationId xmlns:a16="http://schemas.microsoft.com/office/drawing/2014/main" id="{59293941-513E-9349-BDBF-84A987154E9E}"/>
              </a:ext>
            </a:extLst>
          </p:cNvPr>
          <p:cNvSpPr>
            <a:spLocks noGrp="1"/>
          </p:cNvSpPr>
          <p:nvPr>
            <p:ph type="title"/>
          </p:nvPr>
        </p:nvSpPr>
        <p:spPr>
          <a:xfrm>
            <a:off x="711533" y="613434"/>
            <a:ext cx="5111419" cy="444740"/>
          </a:xfrm>
        </p:spPr>
        <p:txBody>
          <a:bodyPr/>
          <a:lstStyle/>
          <a:p>
            <a:r>
              <a:rPr lang="en-US" noProof="0"/>
              <a:t>Click to edit Master title style</a:t>
            </a:r>
          </a:p>
        </p:txBody>
      </p:sp>
      <p:sp>
        <p:nvSpPr>
          <p:cNvPr id="6" name="Text Placeholder 5">
            <a:extLst>
              <a:ext uri="{FF2B5EF4-FFF2-40B4-BE49-F238E27FC236}">
                <a16:creationId xmlns:a16="http://schemas.microsoft.com/office/drawing/2014/main" id="{6FDB0D81-F352-AE4F-A936-C3D8C4AE5193}"/>
              </a:ext>
            </a:extLst>
          </p:cNvPr>
          <p:cNvSpPr>
            <a:spLocks noGrp="1"/>
          </p:cNvSpPr>
          <p:nvPr>
            <p:ph type="body" sz="quarter" idx="16"/>
          </p:nvPr>
        </p:nvSpPr>
        <p:spPr>
          <a:xfrm>
            <a:off x="719667" y="1410899"/>
            <a:ext cx="5103284" cy="475495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5">
            <a:extLst>
              <a:ext uri="{FF2B5EF4-FFF2-40B4-BE49-F238E27FC236}">
                <a16:creationId xmlns:a16="http://schemas.microsoft.com/office/drawing/2014/main" id="{88CE0523-219C-4D46-9AB9-3FC871B17393}"/>
              </a:ext>
            </a:extLst>
          </p:cNvPr>
          <p:cNvSpPr>
            <a:spLocks noGrp="1"/>
          </p:cNvSpPr>
          <p:nvPr>
            <p:ph type="body" sz="quarter" idx="17"/>
          </p:nvPr>
        </p:nvSpPr>
        <p:spPr>
          <a:xfrm>
            <a:off x="6363418" y="1410899"/>
            <a:ext cx="5103284" cy="47549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A39155C1-C59B-FC4C-804E-0F086BAC1732}"/>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solidFill>
                  <a:schemeClr val="bg1"/>
                </a:solidFill>
              </a:rPr>
              <a:pPr algn="r"/>
              <a:t>‹#›</a:t>
            </a:fld>
            <a:endParaRPr lang="en-US" sz="1067" noProof="0">
              <a:solidFill>
                <a:schemeClr val="bg1"/>
              </a:solidFill>
            </a:endParaRPr>
          </a:p>
        </p:txBody>
      </p:sp>
    </p:spTree>
    <p:extLst>
      <p:ext uri="{BB962C8B-B14F-4D97-AF65-F5344CB8AC3E}">
        <p14:creationId xmlns:p14="http://schemas.microsoft.com/office/powerpoint/2010/main" val="207558601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BE232CD-F606-F242-AFC7-8477842FA366}"/>
              </a:ext>
            </a:extLst>
          </p:cNvPr>
          <p:cNvPicPr>
            <a:picLocks noChangeAspect="1"/>
          </p:cNvPicPr>
          <p:nvPr userDrawn="1"/>
        </p:nvPicPr>
        <p:blipFill>
          <a:blip r:embed="rId2"/>
          <a:srcRect/>
          <a:stretch/>
        </p:blipFill>
        <p:spPr>
          <a:xfrm>
            <a:off x="224" y="126"/>
            <a:ext cx="12191553" cy="6857749"/>
          </a:xfrm>
          <a:prstGeom prst="rect">
            <a:avLst/>
          </a:prstGeom>
          <a:solidFill>
            <a:srgbClr val="0F2147"/>
          </a:solidFill>
        </p:spPr>
      </p:pic>
      <p:sp>
        <p:nvSpPr>
          <p:cNvPr id="10" name="object 5">
            <a:extLst>
              <a:ext uri="{FF2B5EF4-FFF2-40B4-BE49-F238E27FC236}">
                <a16:creationId xmlns:a16="http://schemas.microsoft.com/office/drawing/2014/main" id="{4E2C2F9B-0086-2E42-A7C8-42B6E5F818FB}"/>
              </a:ext>
            </a:extLst>
          </p:cNvPr>
          <p:cNvSpPr txBox="1"/>
          <p:nvPr userDrawn="1"/>
        </p:nvSpPr>
        <p:spPr>
          <a:xfrm>
            <a:off x="1528135" y="3823218"/>
            <a:ext cx="1414596" cy="181247"/>
          </a:xfrm>
          <a:prstGeom prst="rect">
            <a:avLst/>
          </a:prstGeom>
        </p:spPr>
        <p:txBody>
          <a:bodyPr vert="horz" wrap="square" lIns="0" tIns="16933" rIns="0" bIns="0" rtlCol="0">
            <a:spAutoFit/>
          </a:bodyPr>
          <a:lstStyle/>
          <a:p>
            <a:pPr marL="16933">
              <a:spcBef>
                <a:spcPts val="133"/>
              </a:spcBef>
            </a:pPr>
            <a:r>
              <a:rPr lang="en-US" sz="1067" b="1" spc="-7" noProof="0">
                <a:solidFill>
                  <a:srgbClr val="FFFFFF"/>
                </a:solidFill>
                <a:latin typeface="+mn-lt"/>
                <a:cs typeface="Calibri"/>
              </a:rPr>
              <a:t>www.netcompany.com</a:t>
            </a:r>
            <a:endParaRPr lang="en-US" sz="1067" noProof="0">
              <a:latin typeface="Calibri"/>
              <a:cs typeface="Calibri"/>
            </a:endParaRPr>
          </a:p>
        </p:txBody>
      </p:sp>
      <p:sp>
        <p:nvSpPr>
          <p:cNvPr id="20" name="Title 1">
            <a:extLst>
              <a:ext uri="{FF2B5EF4-FFF2-40B4-BE49-F238E27FC236}">
                <a16:creationId xmlns:a16="http://schemas.microsoft.com/office/drawing/2014/main" id="{8F0718DE-0C89-1D45-A3C2-9BF94FDF8A35}"/>
              </a:ext>
            </a:extLst>
          </p:cNvPr>
          <p:cNvSpPr txBox="1">
            <a:spLocks/>
          </p:cNvSpPr>
          <p:nvPr userDrawn="1"/>
        </p:nvSpPr>
        <p:spPr>
          <a:xfrm>
            <a:off x="1514181" y="3823217"/>
            <a:ext cx="1550401" cy="260987"/>
          </a:xfrm>
          <a:prstGeom prst="rect">
            <a:avLst/>
          </a:prstGeom>
        </p:spPr>
        <p:txBody>
          <a:bodyPr vert="horz" lIns="0" tIns="0" rIns="0" bIns="0" rtlCol="0" anchor="t" anchorCtr="0">
            <a:noAutofit/>
          </a:bodyPr>
          <a:lstStyle>
            <a:lvl1pPr algn="l" defTabSz="685800" rtl="0" eaLnBrk="1" latinLnBrk="0" hangingPunct="1">
              <a:lnSpc>
                <a:spcPts val="4000"/>
              </a:lnSpc>
              <a:spcBef>
                <a:spcPct val="0"/>
              </a:spcBef>
              <a:buNone/>
              <a:defRPr sz="4400" b="1" kern="1200" cap="all" baseline="0">
                <a:solidFill>
                  <a:schemeClr val="bg1"/>
                </a:solidFill>
                <a:latin typeface="+mj-lt"/>
                <a:ea typeface="+mj-ea"/>
                <a:cs typeface="+mj-cs"/>
              </a:defRPr>
            </a:lvl1pPr>
          </a:lstStyle>
          <a:p>
            <a:pPr>
              <a:lnSpc>
                <a:spcPts val="2933"/>
              </a:lnSpc>
            </a:pPr>
            <a:endParaRPr lang="en-US" sz="2933" b="0" noProof="0">
              <a:solidFill>
                <a:schemeClr val="accent4"/>
              </a:solidFill>
            </a:endParaRPr>
          </a:p>
        </p:txBody>
      </p:sp>
      <p:sp>
        <p:nvSpPr>
          <p:cNvPr id="5" name="Text Placeholder 4">
            <a:extLst>
              <a:ext uri="{FF2B5EF4-FFF2-40B4-BE49-F238E27FC236}">
                <a16:creationId xmlns:a16="http://schemas.microsoft.com/office/drawing/2014/main" id="{C8F2D710-7F6F-A243-85D0-A0F885154A06}"/>
              </a:ext>
            </a:extLst>
          </p:cNvPr>
          <p:cNvSpPr>
            <a:spLocks noGrp="1"/>
          </p:cNvSpPr>
          <p:nvPr>
            <p:ph type="body" sz="quarter" idx="10" hasCustomPrompt="1"/>
          </p:nvPr>
        </p:nvSpPr>
        <p:spPr>
          <a:xfrm>
            <a:off x="1545167" y="4141647"/>
            <a:ext cx="3771900" cy="569696"/>
          </a:xfrm>
        </p:spPr>
        <p:txBody>
          <a:bodyPr>
            <a:noAutofit/>
          </a:bodyPr>
          <a:lstStyle>
            <a:lvl1pPr marL="0" indent="0">
              <a:spcBef>
                <a:spcPts val="0"/>
              </a:spcBef>
              <a:buNone/>
              <a:defRPr sz="1067">
                <a:solidFill>
                  <a:schemeClr val="bg1"/>
                </a:solidFill>
              </a:defRPr>
            </a:lvl1pPr>
            <a:lvl2pPr>
              <a:defRPr sz="1067">
                <a:solidFill>
                  <a:schemeClr val="bg1"/>
                </a:solidFill>
              </a:defRPr>
            </a:lvl2pPr>
            <a:lvl3pPr>
              <a:defRPr sz="1067">
                <a:solidFill>
                  <a:schemeClr val="bg1"/>
                </a:solidFill>
              </a:defRPr>
            </a:lvl3pPr>
            <a:lvl4pPr>
              <a:defRPr sz="1067">
                <a:solidFill>
                  <a:schemeClr val="bg1"/>
                </a:solidFill>
              </a:defRPr>
            </a:lvl4pPr>
            <a:lvl5pPr>
              <a:defRPr sz="1067">
                <a:solidFill>
                  <a:schemeClr val="bg1"/>
                </a:solidFill>
              </a:defRPr>
            </a:lvl5pPr>
          </a:lstStyle>
          <a:p>
            <a:pPr lvl="0"/>
            <a:r>
              <a:rPr lang="en-US"/>
              <a:t>Add other relevant contact information</a:t>
            </a:r>
            <a:endParaRPr lang="da-DK"/>
          </a:p>
        </p:txBody>
      </p:sp>
      <p:sp>
        <p:nvSpPr>
          <p:cNvPr id="12" name="Text Placeholder 10">
            <a:extLst>
              <a:ext uri="{FF2B5EF4-FFF2-40B4-BE49-F238E27FC236}">
                <a16:creationId xmlns:a16="http://schemas.microsoft.com/office/drawing/2014/main" id="{D0769613-D6C1-8249-A193-08FA6FA35E48}"/>
              </a:ext>
            </a:extLst>
          </p:cNvPr>
          <p:cNvSpPr txBox="1">
            <a:spLocks/>
          </p:cNvSpPr>
          <p:nvPr userDrawn="1"/>
        </p:nvSpPr>
        <p:spPr>
          <a:xfrm>
            <a:off x="1534584" y="3615293"/>
            <a:ext cx="172800" cy="24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33" noProof="0"/>
              <a:t>.</a:t>
            </a:r>
          </a:p>
        </p:txBody>
      </p:sp>
      <p:pic>
        <p:nvPicPr>
          <p:cNvPr id="14" name="Graphic 13">
            <a:extLst>
              <a:ext uri="{FF2B5EF4-FFF2-40B4-BE49-F238E27FC236}">
                <a16:creationId xmlns:a16="http://schemas.microsoft.com/office/drawing/2014/main" id="{FDFBDA76-DCE0-4E4C-9BB6-83212AC424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34585" y="3072694"/>
            <a:ext cx="2520529" cy="354959"/>
          </a:xfrm>
          <a:prstGeom prst="rect">
            <a:avLst/>
          </a:prstGeom>
        </p:spPr>
      </p:pic>
    </p:spTree>
    <p:extLst>
      <p:ext uri="{BB962C8B-B14F-4D97-AF65-F5344CB8AC3E}">
        <p14:creationId xmlns:p14="http://schemas.microsoft.com/office/powerpoint/2010/main" val="1740352162"/>
      </p:ext>
    </p:extLst>
  </p:cSld>
  <p:clrMapOvr>
    <a:masterClrMapping/>
  </p:clrMapOvr>
  <p:extLst>
    <p:ext uri="{DCECCB84-F9BA-43D5-87BE-67443E8EF086}">
      <p15:sldGuideLst xmlns:p15="http://schemas.microsoft.com/office/powerpoint/2012/main">
        <p15:guide id="1" pos="96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rontpage - projects">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76DDED2-82DF-B842-B46F-9F947CAF8CF0}"/>
              </a:ext>
            </a:extLst>
          </p:cNvPr>
          <p:cNvSpPr>
            <a:spLocks noGrp="1"/>
          </p:cNvSpPr>
          <p:nvPr>
            <p:ph type="ctrTitle" hasCustomPrompt="1"/>
          </p:nvPr>
        </p:nvSpPr>
        <p:spPr>
          <a:xfrm>
            <a:off x="1501481" y="1780800"/>
            <a:ext cx="6719729" cy="1385216"/>
          </a:xfrm>
        </p:spPr>
        <p:txBody>
          <a:bodyPr lIns="0" tIns="0" rIns="0" bIns="0" anchor="t" anchorCtr="0">
            <a:noAutofit/>
          </a:bodyPr>
          <a:lstStyle>
            <a:lvl1pPr algn="l">
              <a:lnSpc>
                <a:spcPts val="5333"/>
              </a:lnSpc>
              <a:defRPr sz="5867" cap="all" baseline="0">
                <a:solidFill>
                  <a:schemeClr val="bg1"/>
                </a:solidFill>
              </a:defRPr>
            </a:lvl1pPr>
          </a:lstStyle>
          <a:p>
            <a:r>
              <a:rPr lang="en-GB" noProof="0"/>
              <a:t>Presentation Title HERE</a:t>
            </a:r>
          </a:p>
        </p:txBody>
      </p:sp>
      <p:sp>
        <p:nvSpPr>
          <p:cNvPr id="3" name="Text Placeholder 2">
            <a:extLst>
              <a:ext uri="{FF2B5EF4-FFF2-40B4-BE49-F238E27FC236}">
                <a16:creationId xmlns:a16="http://schemas.microsoft.com/office/drawing/2014/main" id="{05DC779E-2811-B14E-9974-985F7B8F9315}"/>
              </a:ext>
            </a:extLst>
          </p:cNvPr>
          <p:cNvSpPr>
            <a:spLocks noGrp="1"/>
          </p:cNvSpPr>
          <p:nvPr>
            <p:ph type="body" sz="quarter" idx="12" hasCustomPrompt="1"/>
          </p:nvPr>
        </p:nvSpPr>
        <p:spPr>
          <a:xfrm>
            <a:off x="1534583" y="1303556"/>
            <a:ext cx="1764128" cy="273267"/>
          </a:xfrm>
          <a:solidFill>
            <a:schemeClr val="accent4"/>
          </a:solidFill>
        </p:spPr>
        <p:txBody>
          <a:bodyPr wrap="square" lIns="90000" tIns="54000" rIns="90000" bIns="54000" anchor="ctr" anchorCtr="0">
            <a:spAutoFit/>
          </a:bodyPr>
          <a:lstStyle>
            <a:lvl1pPr marL="0" indent="0" algn="l">
              <a:buFontTx/>
              <a:buNone/>
              <a:defRPr sz="1067" b="1" cap="all" baseline="0">
                <a:solidFill>
                  <a:schemeClr val="bg1"/>
                </a:solidFill>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GB" noProof="0"/>
              <a:t>Name of client or logo</a:t>
            </a:r>
          </a:p>
        </p:txBody>
      </p:sp>
      <p:sp>
        <p:nvSpPr>
          <p:cNvPr id="6" name="Text Placeholder 5">
            <a:extLst>
              <a:ext uri="{FF2B5EF4-FFF2-40B4-BE49-F238E27FC236}">
                <a16:creationId xmlns:a16="http://schemas.microsoft.com/office/drawing/2014/main" id="{0EE85E9E-2EAB-7A41-8CF1-640C30220459}"/>
              </a:ext>
            </a:extLst>
          </p:cNvPr>
          <p:cNvSpPr>
            <a:spLocks noGrp="1"/>
          </p:cNvSpPr>
          <p:nvPr>
            <p:ph type="body" sz="quarter" idx="13" hasCustomPrompt="1"/>
          </p:nvPr>
        </p:nvSpPr>
        <p:spPr>
          <a:xfrm>
            <a:off x="1534584" y="3558119"/>
            <a:ext cx="4561416" cy="302149"/>
          </a:xfrm>
        </p:spPr>
        <p:txBody>
          <a:bodyPr/>
          <a:lstStyle>
            <a:lvl1pPr marL="0" marR="0" indent="0" algn="l" defTabSz="914377" rtl="0" eaLnBrk="1" fontAlgn="auto" latinLnBrk="0" hangingPunct="1">
              <a:lnSpc>
                <a:spcPct val="100000"/>
              </a:lnSpc>
              <a:spcBef>
                <a:spcPts val="0"/>
              </a:spcBef>
              <a:spcAft>
                <a:spcPts val="0"/>
              </a:spcAft>
              <a:buClr>
                <a:schemeClr val="tx1"/>
              </a:buClr>
              <a:buSzTx/>
              <a:buFontTx/>
              <a:buNone/>
              <a:tabLst/>
              <a:defRPr sz="1200" b="1">
                <a:solidFill>
                  <a:schemeClr val="bg1"/>
                </a:solidFill>
              </a:defRPr>
            </a:lvl1pPr>
            <a:lvl2pPr marL="457189" indent="0">
              <a:buFontTx/>
              <a:buNone/>
              <a:defRPr sz="1067">
                <a:solidFill>
                  <a:schemeClr val="bg1"/>
                </a:solidFill>
              </a:defRPr>
            </a:lvl2pPr>
            <a:lvl3pPr marL="914377" indent="0">
              <a:buFontTx/>
              <a:buNone/>
              <a:defRPr sz="1067">
                <a:solidFill>
                  <a:schemeClr val="bg1"/>
                </a:solidFill>
              </a:defRPr>
            </a:lvl3pPr>
            <a:lvl4pPr marL="1371566" indent="0">
              <a:buFontTx/>
              <a:buNone/>
              <a:defRPr sz="1067">
                <a:solidFill>
                  <a:schemeClr val="bg1"/>
                </a:solidFill>
              </a:defRPr>
            </a:lvl4pPr>
            <a:lvl5pPr marL="1828754" indent="0">
              <a:buFontTx/>
              <a:buNone/>
              <a:defRPr sz="1067">
                <a:solidFill>
                  <a:schemeClr val="bg1"/>
                </a:solidFill>
              </a:defRPr>
            </a:lvl5pPr>
          </a:lstStyle>
          <a:p>
            <a:pPr lvl="0"/>
            <a:r>
              <a:rPr lang="en-GB" noProof="0"/>
              <a:t>Project name here</a:t>
            </a:r>
          </a:p>
          <a:p>
            <a:pPr lvl="0"/>
            <a:endParaRPr lang="en-GB" noProof="0"/>
          </a:p>
        </p:txBody>
      </p:sp>
      <p:sp>
        <p:nvSpPr>
          <p:cNvPr id="17" name="Text Placeholder 5">
            <a:extLst>
              <a:ext uri="{FF2B5EF4-FFF2-40B4-BE49-F238E27FC236}">
                <a16:creationId xmlns:a16="http://schemas.microsoft.com/office/drawing/2014/main" id="{B1BDC018-947C-3848-B70A-1F9C77F155E5}"/>
              </a:ext>
            </a:extLst>
          </p:cNvPr>
          <p:cNvSpPr>
            <a:spLocks noGrp="1"/>
          </p:cNvSpPr>
          <p:nvPr>
            <p:ph type="body" sz="quarter" idx="14" hasCustomPrompt="1"/>
          </p:nvPr>
        </p:nvSpPr>
        <p:spPr>
          <a:xfrm>
            <a:off x="2066521" y="3829827"/>
            <a:ext cx="4029479" cy="180237"/>
          </a:xfrm>
        </p:spPr>
        <p:txBody>
          <a:bodyPr/>
          <a:lstStyle>
            <a:lvl1pPr marL="0" marR="0" indent="0" algn="l" defTabSz="914377" rtl="0" eaLnBrk="1" fontAlgn="auto" latinLnBrk="0" hangingPunct="1">
              <a:lnSpc>
                <a:spcPct val="100000"/>
              </a:lnSpc>
              <a:spcBef>
                <a:spcPts val="0"/>
              </a:spcBef>
              <a:spcAft>
                <a:spcPts val="0"/>
              </a:spcAft>
              <a:buClr>
                <a:schemeClr val="tx1"/>
              </a:buClr>
              <a:buSzTx/>
              <a:buFontTx/>
              <a:buNone/>
              <a:tabLst/>
              <a:defRPr sz="1067">
                <a:solidFill>
                  <a:schemeClr val="bg1"/>
                </a:solidFill>
              </a:defRPr>
            </a:lvl1pPr>
            <a:lvl2pPr marL="457189" indent="0">
              <a:buFontTx/>
              <a:buNone/>
              <a:defRPr sz="1067">
                <a:solidFill>
                  <a:schemeClr val="bg1"/>
                </a:solidFill>
              </a:defRPr>
            </a:lvl2pPr>
            <a:lvl3pPr marL="914377" indent="0">
              <a:buFontTx/>
              <a:buNone/>
              <a:defRPr sz="1067">
                <a:solidFill>
                  <a:schemeClr val="bg1"/>
                </a:solidFill>
              </a:defRPr>
            </a:lvl3pPr>
            <a:lvl4pPr marL="1371566" indent="0">
              <a:buFontTx/>
              <a:buNone/>
              <a:defRPr sz="1067">
                <a:solidFill>
                  <a:schemeClr val="bg1"/>
                </a:solidFill>
              </a:defRPr>
            </a:lvl4pPr>
            <a:lvl5pPr marL="1828754" indent="0">
              <a:buFontTx/>
              <a:buNone/>
              <a:defRPr sz="1067">
                <a:solidFill>
                  <a:schemeClr val="bg1"/>
                </a:solidFill>
              </a:defRPr>
            </a:lvl5pPr>
          </a:lstStyle>
          <a:p>
            <a:pPr lvl="0"/>
            <a:r>
              <a:rPr lang="en-GB" noProof="0"/>
              <a:t>Insert date</a:t>
            </a:r>
          </a:p>
        </p:txBody>
      </p:sp>
      <p:sp>
        <p:nvSpPr>
          <p:cNvPr id="2" name="TextBox 1">
            <a:extLst>
              <a:ext uri="{FF2B5EF4-FFF2-40B4-BE49-F238E27FC236}">
                <a16:creationId xmlns:a16="http://schemas.microsoft.com/office/drawing/2014/main" id="{D57915BC-B6D1-EE41-B47D-4759A6A3BDA5}"/>
              </a:ext>
            </a:extLst>
          </p:cNvPr>
          <p:cNvSpPr txBox="1"/>
          <p:nvPr userDrawn="1"/>
        </p:nvSpPr>
        <p:spPr>
          <a:xfrm>
            <a:off x="1534585" y="3829827"/>
            <a:ext cx="1233329" cy="628020"/>
          </a:xfrm>
          <a:prstGeom prst="rect">
            <a:avLst/>
          </a:prstGeom>
          <a:noFill/>
        </p:spPr>
        <p:txBody>
          <a:bodyPr wrap="square" lIns="0" tIns="0" rIns="0" bIns="0" rtlCol="0">
            <a:noAutofit/>
          </a:bodyPr>
          <a:lstStyle/>
          <a:p>
            <a:pPr algn="l"/>
            <a:r>
              <a:rPr lang="en-GB" sz="1067" b="1" noProof="0">
                <a:solidFill>
                  <a:schemeClr val="bg1"/>
                </a:solidFill>
              </a:rPr>
              <a:t>Date:</a:t>
            </a:r>
          </a:p>
          <a:p>
            <a:pPr algn="l"/>
            <a:r>
              <a:rPr lang="en-GB" sz="1067" b="1" noProof="0">
                <a:solidFill>
                  <a:schemeClr val="bg1"/>
                </a:solidFill>
              </a:rPr>
              <a:t>Version:</a:t>
            </a:r>
          </a:p>
          <a:p>
            <a:pPr algn="l"/>
            <a:r>
              <a:rPr lang="en-GB" sz="1067" b="1" noProof="0">
                <a:solidFill>
                  <a:schemeClr val="bg1"/>
                </a:solidFill>
              </a:rPr>
              <a:t>Author:</a:t>
            </a:r>
          </a:p>
          <a:p>
            <a:pPr algn="l"/>
            <a:r>
              <a:rPr lang="en-GB" sz="1067" b="1" noProof="0">
                <a:solidFill>
                  <a:schemeClr val="bg1"/>
                </a:solidFill>
              </a:rPr>
              <a:t>Contact:</a:t>
            </a:r>
          </a:p>
        </p:txBody>
      </p:sp>
      <p:sp>
        <p:nvSpPr>
          <p:cNvPr id="10" name="Text Placeholder 5">
            <a:extLst>
              <a:ext uri="{FF2B5EF4-FFF2-40B4-BE49-F238E27FC236}">
                <a16:creationId xmlns:a16="http://schemas.microsoft.com/office/drawing/2014/main" id="{4D3DEA1A-1A0F-CC43-972E-39C36D6CCE31}"/>
              </a:ext>
            </a:extLst>
          </p:cNvPr>
          <p:cNvSpPr>
            <a:spLocks noGrp="1"/>
          </p:cNvSpPr>
          <p:nvPr>
            <p:ph type="body" sz="quarter" idx="18" hasCustomPrompt="1"/>
          </p:nvPr>
        </p:nvSpPr>
        <p:spPr>
          <a:xfrm>
            <a:off x="2066521" y="3990508"/>
            <a:ext cx="4029479" cy="180237"/>
          </a:xfrm>
        </p:spPr>
        <p:txBody>
          <a:bodyPr/>
          <a:lstStyle>
            <a:lvl1pPr marL="0" marR="0" indent="0" algn="l" defTabSz="914377" rtl="0" eaLnBrk="1" fontAlgn="auto" latinLnBrk="0" hangingPunct="1">
              <a:lnSpc>
                <a:spcPct val="100000"/>
              </a:lnSpc>
              <a:spcBef>
                <a:spcPts val="0"/>
              </a:spcBef>
              <a:spcAft>
                <a:spcPts val="0"/>
              </a:spcAft>
              <a:buClr>
                <a:schemeClr val="tx1"/>
              </a:buClr>
              <a:buSzTx/>
              <a:buFontTx/>
              <a:buNone/>
              <a:tabLst/>
              <a:defRPr sz="1067">
                <a:solidFill>
                  <a:schemeClr val="bg1"/>
                </a:solidFill>
              </a:defRPr>
            </a:lvl1pPr>
            <a:lvl2pPr marL="457189" indent="0">
              <a:buFontTx/>
              <a:buNone/>
              <a:defRPr sz="1067">
                <a:solidFill>
                  <a:schemeClr val="bg1"/>
                </a:solidFill>
              </a:defRPr>
            </a:lvl2pPr>
            <a:lvl3pPr marL="914377" indent="0">
              <a:buFontTx/>
              <a:buNone/>
              <a:defRPr sz="1067">
                <a:solidFill>
                  <a:schemeClr val="bg1"/>
                </a:solidFill>
              </a:defRPr>
            </a:lvl3pPr>
            <a:lvl4pPr marL="1371566" indent="0">
              <a:buFontTx/>
              <a:buNone/>
              <a:defRPr sz="1067">
                <a:solidFill>
                  <a:schemeClr val="bg1"/>
                </a:solidFill>
              </a:defRPr>
            </a:lvl4pPr>
            <a:lvl5pPr marL="1828754" indent="0">
              <a:buFontTx/>
              <a:buNone/>
              <a:defRPr sz="1067">
                <a:solidFill>
                  <a:schemeClr val="bg1"/>
                </a:solidFill>
              </a:defRPr>
            </a:lvl5pPr>
          </a:lstStyle>
          <a:p>
            <a:pPr lvl="0"/>
            <a:r>
              <a:rPr lang="en-GB" noProof="0"/>
              <a:t>Insert version</a:t>
            </a:r>
          </a:p>
        </p:txBody>
      </p:sp>
      <p:sp>
        <p:nvSpPr>
          <p:cNvPr id="12" name="Text Placeholder 5">
            <a:extLst>
              <a:ext uri="{FF2B5EF4-FFF2-40B4-BE49-F238E27FC236}">
                <a16:creationId xmlns:a16="http://schemas.microsoft.com/office/drawing/2014/main" id="{EDC78372-9D76-F74B-8706-DB4AFC8A0589}"/>
              </a:ext>
            </a:extLst>
          </p:cNvPr>
          <p:cNvSpPr>
            <a:spLocks noGrp="1"/>
          </p:cNvSpPr>
          <p:nvPr>
            <p:ph type="body" sz="quarter" idx="19" hasCustomPrompt="1"/>
          </p:nvPr>
        </p:nvSpPr>
        <p:spPr>
          <a:xfrm>
            <a:off x="2066521" y="4151190"/>
            <a:ext cx="4029479" cy="180237"/>
          </a:xfrm>
        </p:spPr>
        <p:txBody>
          <a:bodyPr/>
          <a:lstStyle>
            <a:lvl1pPr marL="0" marR="0" indent="0" algn="l" defTabSz="914377" rtl="0" eaLnBrk="1" fontAlgn="auto" latinLnBrk="0" hangingPunct="1">
              <a:lnSpc>
                <a:spcPct val="100000"/>
              </a:lnSpc>
              <a:spcBef>
                <a:spcPts val="0"/>
              </a:spcBef>
              <a:spcAft>
                <a:spcPts val="0"/>
              </a:spcAft>
              <a:buClr>
                <a:schemeClr val="tx1"/>
              </a:buClr>
              <a:buSzTx/>
              <a:buFontTx/>
              <a:buNone/>
              <a:tabLst/>
              <a:defRPr sz="1067">
                <a:solidFill>
                  <a:schemeClr val="bg1"/>
                </a:solidFill>
              </a:defRPr>
            </a:lvl1pPr>
            <a:lvl2pPr marL="457189" indent="0">
              <a:buFontTx/>
              <a:buNone/>
              <a:defRPr sz="1067">
                <a:solidFill>
                  <a:schemeClr val="bg1"/>
                </a:solidFill>
              </a:defRPr>
            </a:lvl2pPr>
            <a:lvl3pPr marL="914377" indent="0">
              <a:buFontTx/>
              <a:buNone/>
              <a:defRPr sz="1067">
                <a:solidFill>
                  <a:schemeClr val="bg1"/>
                </a:solidFill>
              </a:defRPr>
            </a:lvl3pPr>
            <a:lvl4pPr marL="1371566" indent="0">
              <a:buFontTx/>
              <a:buNone/>
              <a:defRPr sz="1067">
                <a:solidFill>
                  <a:schemeClr val="bg1"/>
                </a:solidFill>
              </a:defRPr>
            </a:lvl4pPr>
            <a:lvl5pPr marL="1828754" indent="0">
              <a:buFontTx/>
              <a:buNone/>
              <a:defRPr sz="1067">
                <a:solidFill>
                  <a:schemeClr val="bg1"/>
                </a:solidFill>
              </a:defRPr>
            </a:lvl5pPr>
          </a:lstStyle>
          <a:p>
            <a:pPr lvl="0"/>
            <a:r>
              <a:rPr lang="en-GB" noProof="0"/>
              <a:t>Insert name</a:t>
            </a:r>
          </a:p>
        </p:txBody>
      </p:sp>
      <p:sp>
        <p:nvSpPr>
          <p:cNvPr id="14" name="Text Placeholder 5">
            <a:extLst>
              <a:ext uri="{FF2B5EF4-FFF2-40B4-BE49-F238E27FC236}">
                <a16:creationId xmlns:a16="http://schemas.microsoft.com/office/drawing/2014/main" id="{17D312C8-6AE9-C847-B7B8-CDF7E32B1E5C}"/>
              </a:ext>
            </a:extLst>
          </p:cNvPr>
          <p:cNvSpPr>
            <a:spLocks noGrp="1"/>
          </p:cNvSpPr>
          <p:nvPr>
            <p:ph type="body" sz="quarter" idx="20" hasCustomPrompt="1"/>
          </p:nvPr>
        </p:nvSpPr>
        <p:spPr>
          <a:xfrm>
            <a:off x="2066521" y="4316103"/>
            <a:ext cx="4029479" cy="180237"/>
          </a:xfrm>
        </p:spPr>
        <p:txBody>
          <a:bodyPr/>
          <a:lstStyle>
            <a:lvl1pPr marL="0" marR="0" indent="0" algn="l" defTabSz="914377" rtl="0" eaLnBrk="1" fontAlgn="auto" latinLnBrk="0" hangingPunct="1">
              <a:lnSpc>
                <a:spcPct val="100000"/>
              </a:lnSpc>
              <a:spcBef>
                <a:spcPts val="0"/>
              </a:spcBef>
              <a:spcAft>
                <a:spcPts val="0"/>
              </a:spcAft>
              <a:buClr>
                <a:schemeClr val="tx1"/>
              </a:buClr>
              <a:buSzTx/>
              <a:buFontTx/>
              <a:buNone/>
              <a:tabLst/>
              <a:defRPr sz="1067">
                <a:solidFill>
                  <a:schemeClr val="bg1"/>
                </a:solidFill>
              </a:defRPr>
            </a:lvl1pPr>
            <a:lvl2pPr marL="457189" indent="0">
              <a:buFontTx/>
              <a:buNone/>
              <a:defRPr sz="1067">
                <a:solidFill>
                  <a:schemeClr val="bg1"/>
                </a:solidFill>
              </a:defRPr>
            </a:lvl2pPr>
            <a:lvl3pPr marL="914377" indent="0">
              <a:buFontTx/>
              <a:buNone/>
              <a:defRPr sz="1067">
                <a:solidFill>
                  <a:schemeClr val="bg1"/>
                </a:solidFill>
              </a:defRPr>
            </a:lvl3pPr>
            <a:lvl4pPr marL="1371566" indent="0">
              <a:buFontTx/>
              <a:buNone/>
              <a:defRPr sz="1067">
                <a:solidFill>
                  <a:schemeClr val="bg1"/>
                </a:solidFill>
              </a:defRPr>
            </a:lvl4pPr>
            <a:lvl5pPr marL="1828754" indent="0">
              <a:buFontTx/>
              <a:buNone/>
              <a:defRPr sz="1067">
                <a:solidFill>
                  <a:schemeClr val="bg1"/>
                </a:solidFill>
              </a:defRPr>
            </a:lvl5pPr>
          </a:lstStyle>
          <a:p>
            <a:pPr lvl="0"/>
            <a:r>
              <a:rPr lang="en-GB" noProof="0"/>
              <a:t>xxx@netcompany.com</a:t>
            </a:r>
          </a:p>
        </p:txBody>
      </p:sp>
      <p:sp>
        <p:nvSpPr>
          <p:cNvPr id="36" name="Text Placeholder 10">
            <a:extLst>
              <a:ext uri="{FF2B5EF4-FFF2-40B4-BE49-F238E27FC236}">
                <a16:creationId xmlns:a16="http://schemas.microsoft.com/office/drawing/2014/main" id="{48C3E4B5-BBA3-9F47-ADEA-FF870EA90B3F}"/>
              </a:ext>
            </a:extLst>
          </p:cNvPr>
          <p:cNvSpPr>
            <a:spLocks noGrp="1"/>
          </p:cNvSpPr>
          <p:nvPr>
            <p:ph type="body" sz="quarter" idx="40" hasCustomPrompt="1"/>
          </p:nvPr>
        </p:nvSpPr>
        <p:spPr>
          <a:xfrm>
            <a:off x="1534584" y="3227677"/>
            <a:ext cx="172800" cy="24000"/>
          </a:xfrm>
          <a:solidFill>
            <a:srgbClr val="E46053"/>
          </a:solidFill>
        </p:spPr>
        <p:txBody>
          <a:bodyPr bIns="7200">
            <a:normAutofit/>
          </a:bodyPr>
          <a:lstStyle>
            <a:lvl1pPr marL="0" indent="0">
              <a:buFontTx/>
              <a:buNone/>
              <a:defRPr sz="133">
                <a:solidFill>
                  <a:srgbClr val="FF0000"/>
                </a:solidFill>
              </a:defRPr>
            </a:lvl1pPr>
          </a:lstStyle>
          <a:p>
            <a:pPr lvl="0"/>
            <a:r>
              <a:rPr lang="en-GB" noProof="0"/>
              <a:t>.</a:t>
            </a:r>
          </a:p>
        </p:txBody>
      </p:sp>
      <p:sp>
        <p:nvSpPr>
          <p:cNvPr id="37" name="Text Placeholder 10">
            <a:extLst>
              <a:ext uri="{FF2B5EF4-FFF2-40B4-BE49-F238E27FC236}">
                <a16:creationId xmlns:a16="http://schemas.microsoft.com/office/drawing/2014/main" id="{97BFF3BF-506C-DF44-9146-4A56F7D7EF89}"/>
              </a:ext>
            </a:extLst>
          </p:cNvPr>
          <p:cNvSpPr>
            <a:spLocks noGrp="1"/>
          </p:cNvSpPr>
          <p:nvPr>
            <p:ph type="body" sz="quarter" idx="16" hasCustomPrompt="1"/>
          </p:nvPr>
        </p:nvSpPr>
        <p:spPr>
          <a:xfrm>
            <a:off x="1534580" y="4754308"/>
            <a:ext cx="1550400" cy="205473"/>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33">
                <a:solidFill>
                  <a:srgbClr val="FF0000"/>
                </a:solidFill>
              </a:defRPr>
            </a:lvl1pPr>
          </a:lstStyle>
          <a:p>
            <a:pPr lvl="0"/>
            <a:r>
              <a:rPr lang="en-GB" noProof="0"/>
              <a:t>.</a:t>
            </a:r>
          </a:p>
        </p:txBody>
      </p:sp>
      <p:sp>
        <p:nvSpPr>
          <p:cNvPr id="15" name="Tekstfelt 23">
            <a:extLst>
              <a:ext uri="{FF2B5EF4-FFF2-40B4-BE49-F238E27FC236}">
                <a16:creationId xmlns:a16="http://schemas.microsoft.com/office/drawing/2014/main" id="{60DAE731-C598-4CCA-AB5A-574D1D9771BF}"/>
              </a:ext>
            </a:extLst>
          </p:cNvPr>
          <p:cNvSpPr txBox="1"/>
          <p:nvPr userDrawn="1"/>
        </p:nvSpPr>
        <p:spPr>
          <a:xfrm>
            <a:off x="1576240" y="6331553"/>
            <a:ext cx="9039520" cy="123111"/>
          </a:xfrm>
          <a:prstGeom prst="rect">
            <a:avLst/>
          </a:prstGeom>
          <a:noFill/>
        </p:spPr>
        <p:txBody>
          <a:bodyPr wrap="square" lIns="0" tIns="0" rIns="0" bIns="0" rtlCol="0">
            <a:spAutoFit/>
          </a:bodyPr>
          <a:lstStyle/>
          <a:p>
            <a:pPr marL="10584" algn="ctr"/>
            <a:r>
              <a:rPr lang="da-DK" sz="800" noProof="0">
                <a:solidFill>
                  <a:schemeClr val="bg1"/>
                </a:solidFill>
                <a:latin typeface="+mn-lt"/>
                <a:cs typeface="Arial" panose="020B0604020202020204" pitchFamily="34" charset="0"/>
              </a:rPr>
              <a:t>© Copyright Netcompany</a:t>
            </a:r>
          </a:p>
        </p:txBody>
      </p:sp>
    </p:spTree>
    <p:extLst>
      <p:ext uri="{BB962C8B-B14F-4D97-AF65-F5344CB8AC3E}">
        <p14:creationId xmlns:p14="http://schemas.microsoft.com/office/powerpoint/2010/main" val="381385469"/>
      </p:ext>
    </p:extLst>
  </p:cSld>
  <p:clrMapOvr>
    <a:masterClrMapping/>
  </p:clrMapOvr>
  <p:extLst>
    <p:ext uri="{DCECCB84-F9BA-43D5-87BE-67443E8EF086}">
      <p15:sldGuideLst xmlns:p15="http://schemas.microsoft.com/office/powerpoint/2012/main">
        <p15:guide id="1" pos="96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820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clusion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01481" y="1780801"/>
            <a:ext cx="6719729" cy="4180665"/>
          </a:xfrm>
        </p:spPr>
        <p:txBody>
          <a:bodyPr lIns="0" tIns="0" rIns="0" bIns="0" anchor="t" anchorCtr="0">
            <a:normAutofit/>
          </a:bodyPr>
          <a:lstStyle>
            <a:lvl1pPr algn="l">
              <a:lnSpc>
                <a:spcPts val="5333"/>
              </a:lnSpc>
              <a:defRPr sz="5867" cap="all" baseline="0">
                <a:solidFill>
                  <a:schemeClr val="tx2"/>
                </a:solidFill>
              </a:defRPr>
            </a:lvl1pPr>
          </a:lstStyle>
          <a:p>
            <a:r>
              <a:rPr lang="en-GB" noProof="0"/>
              <a:t>Conclusion</a:t>
            </a:r>
          </a:p>
        </p:txBody>
      </p:sp>
      <p:sp>
        <p:nvSpPr>
          <p:cNvPr id="7" name="TextBox 6">
            <a:extLst>
              <a:ext uri="{FF2B5EF4-FFF2-40B4-BE49-F238E27FC236}">
                <a16:creationId xmlns:a16="http://schemas.microsoft.com/office/drawing/2014/main" id="{EF5ED56F-8F37-D949-BB31-B03884069A65}"/>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GB" sz="1067" noProof="0" smtClean="0"/>
              <a:pPr algn="r"/>
              <a:t>‹#›</a:t>
            </a:fld>
            <a:endParaRPr lang="en-GB" sz="1067" noProof="0"/>
          </a:p>
        </p:txBody>
      </p:sp>
      <p:pic>
        <p:nvPicPr>
          <p:cNvPr id="6" name="Graphic 5">
            <a:extLst>
              <a:ext uri="{FF2B5EF4-FFF2-40B4-BE49-F238E27FC236}">
                <a16:creationId xmlns:a16="http://schemas.microsoft.com/office/drawing/2014/main" id="{C0DA7879-3AB5-43C5-8D40-AE4D6D9515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34585" y="6384209"/>
            <a:ext cx="1038892" cy="146304"/>
          </a:xfrm>
          <a:prstGeom prst="rect">
            <a:avLst/>
          </a:prstGeom>
        </p:spPr>
      </p:pic>
    </p:spTree>
    <p:extLst>
      <p:ext uri="{BB962C8B-B14F-4D97-AF65-F5344CB8AC3E}">
        <p14:creationId xmlns:p14="http://schemas.microsoft.com/office/powerpoint/2010/main" val="3525581494"/>
      </p:ext>
    </p:extLst>
  </p:cSld>
  <p:clrMapOvr>
    <a:masterClrMapping/>
  </p:clrMapOvr>
  <p:extLst>
    <p:ext uri="{DCECCB84-F9BA-43D5-87BE-67443E8EF086}">
      <p15:sldGuideLst xmlns:p15="http://schemas.microsoft.com/office/powerpoint/2012/main">
        <p15:guide id="1" pos="72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sv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8.xml"/><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5.svg"/><Relationship Id="rId2" Type="http://schemas.openxmlformats.org/officeDocument/2006/relationships/theme" Target="../theme/theme4.xml"/><Relationship Id="rId1" Type="http://schemas.openxmlformats.org/officeDocument/2006/relationships/slideLayout" Target="../slideLayouts/slideLayout9.xml"/><Relationship Id="rId6" Type="http://schemas.openxmlformats.org/officeDocument/2006/relationships/image" Target="../media/image4.png"/><Relationship Id="rId5" Type="http://schemas.openxmlformats.org/officeDocument/2006/relationships/image" Target="../media/image13.emf"/><Relationship Id="rId4" Type="http://schemas.openxmlformats.org/officeDocument/2006/relationships/oleObject" Target="../embeddings/oleObject2.bin"/><Relationship Id="rId9" Type="http://schemas.openxmlformats.org/officeDocument/2006/relationships/image" Target="../media/image9.sv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image" Target="../media/image13.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3.bin"/><Relationship Id="rId11" Type="http://schemas.openxmlformats.org/officeDocument/2006/relationships/image" Target="../media/image5.svg"/><Relationship Id="rId5" Type="http://schemas.openxmlformats.org/officeDocument/2006/relationships/tags" Target="../tags/tag4.xml"/><Relationship Id="rId10" Type="http://schemas.openxmlformats.org/officeDocument/2006/relationships/image" Target="../media/image4.png"/><Relationship Id="rId4" Type="http://schemas.openxmlformats.org/officeDocument/2006/relationships/theme" Target="../theme/theme5.xml"/><Relationship Id="rId9"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646BA3-06D0-40A9-950E-7A578F23CB0A}"/>
              </a:ext>
            </a:extLst>
          </p:cNvPr>
          <p:cNvGraphicFramePr>
            <a:graphicFrameLocks noChangeAspect="1"/>
          </p:cNvGraphicFramePr>
          <p:nvPr userDrawn="1">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4" hidden="1">
                        <a:extLst>
                          <a:ext uri="{FF2B5EF4-FFF2-40B4-BE49-F238E27FC236}">
                            <a16:creationId xmlns:a16="http://schemas.microsoft.com/office/drawing/2014/main" id="{BB646BA3-06D0-40A9-950E-7A578F23CB0A}"/>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E522F94-776F-4042-92F8-5B7AE8FBD8B4}"/>
              </a:ext>
            </a:extLst>
          </p:cNvPr>
          <p:cNvSpPr/>
          <p:nvPr userDrawn="1">
            <p:custDataLst>
              <p:tags r:id="rId7"/>
            </p:custDataLst>
          </p:nvPr>
        </p:nvSpPr>
        <p:spPr>
          <a:xfrm>
            <a:off x="0" y="0"/>
            <a:ext cx="211667" cy="2116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33" b="1"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711533" y="692151"/>
            <a:ext cx="10760801" cy="392709"/>
          </a:xfrm>
          <a:prstGeom prst="rect">
            <a:avLst/>
          </a:prstGeom>
        </p:spPr>
        <p:txBody>
          <a:bodyPr vert="horz" lIns="0" tIns="0" rIns="0" bIns="0" rtlCol="0" anchor="b" anchorCtr="0">
            <a:normAutofit/>
          </a:bodyPr>
          <a:lstStyle/>
          <a:p>
            <a:r>
              <a:rPr lang="en-US" noProof="0"/>
              <a:t>Click to edit Master title style</a:t>
            </a:r>
          </a:p>
        </p:txBody>
      </p:sp>
      <p:sp>
        <p:nvSpPr>
          <p:cNvPr id="3" name="Text Placeholder 2"/>
          <p:cNvSpPr>
            <a:spLocks noGrp="1"/>
          </p:cNvSpPr>
          <p:nvPr>
            <p:ph type="body" idx="1"/>
          </p:nvPr>
        </p:nvSpPr>
        <p:spPr>
          <a:xfrm>
            <a:off x="719667" y="1413971"/>
            <a:ext cx="10752664" cy="4737128"/>
          </a:xfrm>
          <a:prstGeom prst="rect">
            <a:avLst/>
          </a:prstGeom>
        </p:spPr>
        <p:txBody>
          <a:bodyPr vert="horz" lIns="0" tIns="0" rIns="0" bIns="0" rtlCol="0" anchor="t" anchorCtr="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Footer Placeholder 29">
            <a:extLst>
              <a:ext uri="{FF2B5EF4-FFF2-40B4-BE49-F238E27FC236}">
                <a16:creationId xmlns:a16="http://schemas.microsoft.com/office/drawing/2014/main" id="{215D774B-28C5-BC4B-8793-6A356D106925}"/>
              </a:ext>
            </a:extLst>
          </p:cNvPr>
          <p:cNvSpPr>
            <a:spLocks noGrp="1"/>
          </p:cNvSpPr>
          <p:nvPr>
            <p:ph type="ftr" sz="quarter" idx="3"/>
          </p:nvPr>
        </p:nvSpPr>
        <p:spPr>
          <a:xfrm>
            <a:off x="6378055" y="6384210"/>
            <a:ext cx="4114800" cy="262125"/>
          </a:xfrm>
          <a:prstGeom prst="rect">
            <a:avLst/>
          </a:prstGeom>
        </p:spPr>
        <p:txBody>
          <a:bodyPr vert="horz" lIns="0" tIns="0" rIns="0" bIns="0" rtlCol="0" anchor="t" anchorCtr="0"/>
          <a:lstStyle>
            <a:lvl1pPr algn="l">
              <a:defRPr sz="1067">
                <a:solidFill>
                  <a:schemeClr val="tx1"/>
                </a:solidFill>
              </a:defRPr>
            </a:lvl1pPr>
          </a:lstStyle>
          <a:p>
            <a:r>
              <a:rPr lang="en-US" noProof="0"/>
              <a:t>Add client name in "Header and footer" or place logo here</a:t>
            </a:r>
          </a:p>
        </p:txBody>
      </p:sp>
      <p:pic>
        <p:nvPicPr>
          <p:cNvPr id="40" name="Graphic 39">
            <a:extLst>
              <a:ext uri="{FF2B5EF4-FFF2-40B4-BE49-F238E27FC236}">
                <a16:creationId xmlns:a16="http://schemas.microsoft.com/office/drawing/2014/main" id="{B72E8D6A-FA7B-7341-A767-0D888E9CD451}"/>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9668" y="6399520"/>
            <a:ext cx="1008001" cy="134400"/>
          </a:xfrm>
          <a:prstGeom prst="rect">
            <a:avLst/>
          </a:prstGeom>
        </p:spPr>
      </p:pic>
      <p:sp>
        <p:nvSpPr>
          <p:cNvPr id="19" name="Text Placeholder 10">
            <a:extLst>
              <a:ext uri="{FF2B5EF4-FFF2-40B4-BE49-F238E27FC236}">
                <a16:creationId xmlns:a16="http://schemas.microsoft.com/office/drawing/2014/main" id="{4BD53941-A3E4-3748-8EC9-CCB59BD453DC}"/>
              </a:ext>
            </a:extLst>
          </p:cNvPr>
          <p:cNvSpPr txBox="1">
            <a:spLocks/>
          </p:cNvSpPr>
          <p:nvPr userDrawn="1"/>
        </p:nvSpPr>
        <p:spPr>
          <a:xfrm>
            <a:off x="711532" y="1237415"/>
            <a:ext cx="172800" cy="24000"/>
          </a:xfrm>
          <a:prstGeom prst="rect">
            <a:avLst/>
          </a:prstGeom>
          <a:blipFill>
            <a:blip r:embed="rId12">
              <a:extLst>
                <a:ext uri="{96DAC541-7B7A-43D3-8B79-37D633B846F1}">
                  <asvg:svgBlip xmlns:asvg="http://schemas.microsoft.com/office/drawing/2016/SVG/main" r:embed="rId13"/>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33" noProof="0"/>
              <a:t>.</a:t>
            </a:r>
          </a:p>
        </p:txBody>
      </p:sp>
      <p:sp>
        <p:nvSpPr>
          <p:cNvPr id="34" name="TextBox 33">
            <a:extLst>
              <a:ext uri="{FF2B5EF4-FFF2-40B4-BE49-F238E27FC236}">
                <a16:creationId xmlns:a16="http://schemas.microsoft.com/office/drawing/2014/main" id="{1AEAFE48-E092-0541-90A9-7A19F42A2DFC}"/>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pPr algn="r"/>
              <a:t>‹#›</a:t>
            </a:fld>
            <a:endParaRPr lang="en-US" sz="1067" noProof="0"/>
          </a:p>
        </p:txBody>
      </p:sp>
    </p:spTree>
    <p:extLst>
      <p:ext uri="{BB962C8B-B14F-4D97-AF65-F5344CB8AC3E}">
        <p14:creationId xmlns:p14="http://schemas.microsoft.com/office/powerpoint/2010/main" val="3913860430"/>
      </p:ext>
    </p:extLst>
  </p:cSld>
  <p:clrMap bg1="lt1" tx1="dk1" bg2="lt2" tx2="dk2" accent1="accent1" accent2="accent2" accent3="accent3" accent4="accent4" accent5="accent5" accent6="accent6" hlink="hlink" folHlink="folHlink"/>
  <p:sldLayoutIdLst>
    <p:sldLayoutId id="2147483675" r:id="rId1"/>
    <p:sldLayoutId id="2147483673" r:id="rId2"/>
    <p:sldLayoutId id="2147483662" r:id="rId3"/>
    <p:sldLayoutId id="2147483688" r:id="rId4"/>
  </p:sldLayoutIdLst>
  <p:hf sldNum="0" hdr="0" ftr="0" dt="0"/>
  <p:txStyles>
    <p:titleStyle>
      <a:lvl1pPr algn="l" defTabSz="685800" rtl="0" eaLnBrk="1" latinLnBrk="0" hangingPunct="1">
        <a:lnSpc>
          <a:spcPts val="23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tx1"/>
        </a:buClr>
        <a:buFont typeface="Arial" panose="020B0604020202020204" pitchFamily="34" charset="0"/>
        <a:buChar char="•"/>
        <a:defRPr sz="1600" kern="1200">
          <a:solidFill>
            <a:schemeClr val="tx1"/>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436" userDrawn="1">
          <p15:clr>
            <a:srgbClr val="F26B43"/>
          </p15:clr>
        </p15:guide>
        <p15:guide id="3" pos="7227" userDrawn="1">
          <p15:clr>
            <a:srgbClr val="F26B43"/>
          </p15:clr>
        </p15:guide>
        <p15:guide id="4" orient="horz" pos="3884" userDrawn="1">
          <p15:clr>
            <a:srgbClr val="F26B43"/>
          </p15:clr>
        </p15:guide>
        <p15:guide id="5" orient="horz" pos="133" userDrawn="1">
          <p15:clr>
            <a:srgbClr val="F26B43"/>
          </p15:clr>
        </p15:guide>
        <p15:guide id="6" pos="7560" userDrawn="1">
          <p15:clr>
            <a:srgbClr val="F26B43"/>
          </p15:clr>
        </p15:guide>
        <p15:guide id="7" orient="horz" pos="4187" userDrawn="1">
          <p15:clr>
            <a:srgbClr val="F26B43"/>
          </p15:clr>
        </p15:guide>
        <p15:guide id="8" pos="120" userDrawn="1">
          <p15:clr>
            <a:srgbClr val="F26B43"/>
          </p15:clr>
        </p15:guide>
        <p15:guide id="9" pos="3840" userDrawn="1">
          <p15:clr>
            <a:srgbClr val="F26B43"/>
          </p15:clr>
        </p15:guide>
        <p15:guide id="10" orient="horz" pos="4096" userDrawn="1">
          <p15:clr>
            <a:srgbClr val="F26B43"/>
          </p15:clr>
        </p15:guide>
        <p15:guide id="11" orient="horz" pos="11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1533" y="692151"/>
            <a:ext cx="10760801" cy="392709"/>
          </a:xfrm>
          <a:prstGeom prst="rect">
            <a:avLst/>
          </a:prstGeom>
        </p:spPr>
        <p:txBody>
          <a:bodyPr vert="horz" lIns="0" tIns="0" rIns="0" bIns="0" rtlCol="0" anchor="b" anchorCtr="0">
            <a:normAutofit/>
          </a:bodyPr>
          <a:lstStyle/>
          <a:p>
            <a:r>
              <a:rPr lang="en-US" noProof="0"/>
              <a:t>Click to edit Master title style</a:t>
            </a:r>
          </a:p>
        </p:txBody>
      </p:sp>
      <p:sp>
        <p:nvSpPr>
          <p:cNvPr id="3" name="Text Placeholder 2"/>
          <p:cNvSpPr>
            <a:spLocks noGrp="1"/>
          </p:cNvSpPr>
          <p:nvPr>
            <p:ph type="body" idx="1"/>
          </p:nvPr>
        </p:nvSpPr>
        <p:spPr>
          <a:xfrm>
            <a:off x="719667" y="1413971"/>
            <a:ext cx="10752664" cy="4737128"/>
          </a:xfrm>
          <a:prstGeom prst="rect">
            <a:avLst/>
          </a:prstGeom>
        </p:spPr>
        <p:txBody>
          <a:bodyPr vert="horz" lIns="0" tIns="0" rIns="0" bIns="0" rtlCol="0" anchor="t" anchorCtr="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Footer Placeholder 29">
            <a:extLst>
              <a:ext uri="{FF2B5EF4-FFF2-40B4-BE49-F238E27FC236}">
                <a16:creationId xmlns:a16="http://schemas.microsoft.com/office/drawing/2014/main" id="{215D774B-28C5-BC4B-8793-6A356D106925}"/>
              </a:ext>
            </a:extLst>
          </p:cNvPr>
          <p:cNvSpPr>
            <a:spLocks noGrp="1"/>
          </p:cNvSpPr>
          <p:nvPr>
            <p:ph type="ftr" sz="quarter" idx="3"/>
          </p:nvPr>
        </p:nvSpPr>
        <p:spPr>
          <a:xfrm>
            <a:off x="6378055" y="6384210"/>
            <a:ext cx="4114800" cy="262125"/>
          </a:xfrm>
          <a:prstGeom prst="rect">
            <a:avLst/>
          </a:prstGeom>
        </p:spPr>
        <p:txBody>
          <a:bodyPr vert="horz" lIns="0" tIns="0" rIns="0" bIns="0" rtlCol="0" anchor="t" anchorCtr="0"/>
          <a:lstStyle>
            <a:lvl1pPr algn="l">
              <a:defRPr sz="1067">
                <a:solidFill>
                  <a:schemeClr val="tx1"/>
                </a:solidFill>
              </a:defRPr>
            </a:lvl1pPr>
          </a:lstStyle>
          <a:p>
            <a:r>
              <a:rPr lang="en-US" noProof="0"/>
              <a:t>Add client name in "Header and footer" or place logo here</a:t>
            </a:r>
          </a:p>
        </p:txBody>
      </p:sp>
      <p:pic>
        <p:nvPicPr>
          <p:cNvPr id="40" name="Graphic 39">
            <a:extLst>
              <a:ext uri="{FF2B5EF4-FFF2-40B4-BE49-F238E27FC236}">
                <a16:creationId xmlns:a16="http://schemas.microsoft.com/office/drawing/2014/main" id="{B72E8D6A-FA7B-7341-A767-0D888E9CD45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668" y="6399520"/>
            <a:ext cx="1008001" cy="134400"/>
          </a:xfrm>
          <a:prstGeom prst="rect">
            <a:avLst/>
          </a:prstGeom>
        </p:spPr>
      </p:pic>
      <p:sp>
        <p:nvSpPr>
          <p:cNvPr id="19" name="Text Placeholder 10">
            <a:extLst>
              <a:ext uri="{FF2B5EF4-FFF2-40B4-BE49-F238E27FC236}">
                <a16:creationId xmlns:a16="http://schemas.microsoft.com/office/drawing/2014/main" id="{4BD53941-A3E4-3748-8EC9-CCB59BD453DC}"/>
              </a:ext>
            </a:extLst>
          </p:cNvPr>
          <p:cNvSpPr txBox="1">
            <a:spLocks/>
          </p:cNvSpPr>
          <p:nvPr userDrawn="1"/>
        </p:nvSpPr>
        <p:spPr>
          <a:xfrm>
            <a:off x="711532" y="1237415"/>
            <a:ext cx="172800" cy="24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33" noProof="0"/>
              <a:t>.</a:t>
            </a:r>
          </a:p>
        </p:txBody>
      </p:sp>
      <p:sp>
        <p:nvSpPr>
          <p:cNvPr id="34" name="TextBox 33">
            <a:extLst>
              <a:ext uri="{FF2B5EF4-FFF2-40B4-BE49-F238E27FC236}">
                <a16:creationId xmlns:a16="http://schemas.microsoft.com/office/drawing/2014/main" id="{1AEAFE48-E092-0541-90A9-7A19F42A2DFC}"/>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pPr algn="r"/>
              <a:t>‹#›</a:t>
            </a:fld>
            <a:endParaRPr lang="en-US" sz="1067" noProof="0"/>
          </a:p>
        </p:txBody>
      </p:sp>
    </p:spTree>
    <p:extLst>
      <p:ext uri="{BB962C8B-B14F-4D97-AF65-F5344CB8AC3E}">
        <p14:creationId xmlns:p14="http://schemas.microsoft.com/office/powerpoint/2010/main" val="3913860430"/>
      </p:ext>
    </p:extLst>
  </p:cSld>
  <p:clrMap bg1="lt1" tx1="dk1" bg2="lt2" tx2="dk2" accent1="accent1" accent2="accent2" accent3="accent3" accent4="accent4" accent5="accent5" accent6="accent6" hlink="hlink" folHlink="folHlink"/>
  <p:sldLayoutIdLst>
    <p:sldLayoutId id="2147483715" r:id="rId1"/>
  </p:sldLayoutIdLst>
  <p:hf sldNum="0" hdr="0" ftr="0" dt="0"/>
  <p:txStyles>
    <p:titleStyle>
      <a:lvl1pPr algn="l" defTabSz="685800" rtl="0" eaLnBrk="1" latinLnBrk="0" hangingPunct="1">
        <a:lnSpc>
          <a:spcPts val="23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tx1"/>
        </a:buClr>
        <a:buFont typeface="Arial" panose="020B0604020202020204" pitchFamily="34" charset="0"/>
        <a:buChar char="•"/>
        <a:defRPr sz="1600" kern="1200">
          <a:solidFill>
            <a:schemeClr val="tx1"/>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436" userDrawn="1">
          <p15:clr>
            <a:srgbClr val="F26B43"/>
          </p15:clr>
        </p15:guide>
        <p15:guide id="3" pos="7227" userDrawn="1">
          <p15:clr>
            <a:srgbClr val="F26B43"/>
          </p15:clr>
        </p15:guide>
        <p15:guide id="4" orient="horz" pos="3884" userDrawn="1">
          <p15:clr>
            <a:srgbClr val="F26B43"/>
          </p15:clr>
        </p15:guide>
        <p15:guide id="5" orient="horz" pos="133" userDrawn="1">
          <p15:clr>
            <a:srgbClr val="F26B43"/>
          </p15:clr>
        </p15:guide>
        <p15:guide id="6" pos="7560" userDrawn="1">
          <p15:clr>
            <a:srgbClr val="F26B43"/>
          </p15:clr>
        </p15:guide>
        <p15:guide id="7" orient="horz" pos="4187" userDrawn="1">
          <p15:clr>
            <a:srgbClr val="F26B43"/>
          </p15:clr>
        </p15:guide>
        <p15:guide id="8" pos="120" userDrawn="1">
          <p15:clr>
            <a:srgbClr val="F26B43"/>
          </p15:clr>
        </p15:guide>
        <p15:guide id="9" pos="3840" userDrawn="1">
          <p15:clr>
            <a:srgbClr val="F26B43"/>
          </p15:clr>
        </p15:guide>
        <p15:guide id="10" orient="horz" pos="4096" userDrawn="1">
          <p15:clr>
            <a:srgbClr val="F26B43"/>
          </p15:clr>
        </p15:guide>
        <p15:guide id="11" orient="horz" pos="119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1533" y="692151"/>
            <a:ext cx="10760801" cy="392709"/>
          </a:xfrm>
          <a:prstGeom prst="rect">
            <a:avLst/>
          </a:prstGeom>
        </p:spPr>
        <p:txBody>
          <a:bodyPr vert="horz" lIns="0" tIns="0" rIns="0" bIns="0" rtlCol="0" anchor="b" anchorCtr="0">
            <a:normAutofit/>
          </a:bodyPr>
          <a:lstStyle/>
          <a:p>
            <a:r>
              <a:rPr lang="en-GB" noProof="0"/>
              <a:t>Click to edit title</a:t>
            </a:r>
          </a:p>
        </p:txBody>
      </p:sp>
      <p:sp>
        <p:nvSpPr>
          <p:cNvPr id="3" name="Text Placeholder 2"/>
          <p:cNvSpPr>
            <a:spLocks noGrp="1"/>
          </p:cNvSpPr>
          <p:nvPr>
            <p:ph type="body" idx="1"/>
          </p:nvPr>
        </p:nvSpPr>
        <p:spPr>
          <a:xfrm>
            <a:off x="711532" y="1417673"/>
            <a:ext cx="10752664" cy="4737128"/>
          </a:xfrm>
          <a:prstGeom prst="rect">
            <a:avLst/>
          </a:prstGeom>
        </p:spPr>
        <p:txBody>
          <a:bodyPr vert="horz" lIns="0" tIns="0" rIns="0" bIns="0" rtlCol="0" anchor="t" anchorCtr="0">
            <a:normAutofit/>
          </a:bodyPr>
          <a:lstStyle/>
          <a:p>
            <a:pPr lvl="0"/>
            <a:r>
              <a:rPr lang="en-GB" noProof="0"/>
              <a:t>Insert text</a:t>
            </a:r>
          </a:p>
        </p:txBody>
      </p:sp>
      <p:sp>
        <p:nvSpPr>
          <p:cNvPr id="19" name="Text Placeholder 10">
            <a:extLst>
              <a:ext uri="{FF2B5EF4-FFF2-40B4-BE49-F238E27FC236}">
                <a16:creationId xmlns:a16="http://schemas.microsoft.com/office/drawing/2014/main" id="{4BD53941-A3E4-3748-8EC9-CCB59BD453DC}"/>
              </a:ext>
            </a:extLst>
          </p:cNvPr>
          <p:cNvSpPr txBox="1">
            <a:spLocks/>
          </p:cNvSpPr>
          <p:nvPr userDrawn="1"/>
        </p:nvSpPr>
        <p:spPr>
          <a:xfrm>
            <a:off x="711532" y="1237415"/>
            <a:ext cx="172800" cy="24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33" noProof="0"/>
              <a:t>.</a:t>
            </a:r>
          </a:p>
        </p:txBody>
      </p:sp>
      <p:sp>
        <p:nvSpPr>
          <p:cNvPr id="34" name="TextBox 33">
            <a:extLst>
              <a:ext uri="{FF2B5EF4-FFF2-40B4-BE49-F238E27FC236}">
                <a16:creationId xmlns:a16="http://schemas.microsoft.com/office/drawing/2014/main" id="{1AEAFE48-E092-0541-90A9-7A19F42A2DFC}"/>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GB" sz="1067" noProof="0" smtClean="0"/>
              <a:pPr algn="r"/>
              <a:t>‹#›</a:t>
            </a:fld>
            <a:endParaRPr lang="en-GB" sz="1067" noProof="0"/>
          </a:p>
        </p:txBody>
      </p:sp>
      <p:pic>
        <p:nvPicPr>
          <p:cNvPr id="8" name="Graphic 7">
            <a:extLst>
              <a:ext uri="{FF2B5EF4-FFF2-40B4-BE49-F238E27FC236}">
                <a16:creationId xmlns:a16="http://schemas.microsoft.com/office/drawing/2014/main" id="{23D0037D-EE45-41AD-8D3B-B6FE11EFED12}"/>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719667" y="6381955"/>
            <a:ext cx="1038892" cy="146304"/>
          </a:xfrm>
          <a:prstGeom prst="rect">
            <a:avLst/>
          </a:prstGeom>
        </p:spPr>
      </p:pic>
    </p:spTree>
    <p:extLst>
      <p:ext uri="{BB962C8B-B14F-4D97-AF65-F5344CB8AC3E}">
        <p14:creationId xmlns:p14="http://schemas.microsoft.com/office/powerpoint/2010/main" val="3913860430"/>
      </p:ext>
    </p:extLst>
  </p:cSld>
  <p:clrMap bg1="lt1" tx1="dk1" bg2="lt2" tx2="dk2" accent1="accent1" accent2="accent2" accent3="accent3" accent4="accent4" accent5="accent5" accent6="accent6" hlink="hlink" folHlink="folHlink"/>
  <p:sldLayoutIdLst>
    <p:sldLayoutId id="2147483805" r:id="rId1"/>
    <p:sldLayoutId id="2147483781" r:id="rId2"/>
    <p:sldLayoutId id="2147483694" r:id="rId3"/>
  </p:sldLayoutIdLst>
  <p:hf sldNum="0" hdr="0" ftr="0" dt="0"/>
  <p:txStyles>
    <p:titleStyle>
      <a:lvl1pPr algn="l" defTabSz="685800" rtl="0" eaLnBrk="1" latinLnBrk="0" hangingPunct="1">
        <a:lnSpc>
          <a:spcPts val="2300"/>
        </a:lnSpc>
        <a:spcBef>
          <a:spcPct val="0"/>
        </a:spcBef>
        <a:buNone/>
        <a:defRPr sz="2200" b="1" kern="1200">
          <a:solidFill>
            <a:schemeClr val="tx1"/>
          </a:solidFill>
          <a:latin typeface="+mj-lt"/>
          <a:ea typeface="+mj-ea"/>
          <a:cs typeface="+mj-cs"/>
        </a:defRPr>
      </a:lvl1pPr>
    </p:titleStyle>
    <p:bodyStyle>
      <a:lvl1pPr marL="285750" indent="-285750" algn="l" defTabSz="685800" rtl="0" eaLnBrk="1" latinLnBrk="0" hangingPunct="1">
        <a:lnSpc>
          <a:spcPct val="100000"/>
        </a:lnSpc>
        <a:spcBef>
          <a:spcPts val="750"/>
        </a:spcBef>
        <a:buClr>
          <a:schemeClr val="tx1"/>
        </a:buClr>
        <a:buFont typeface="Arial" panose="020B0604020202020204" pitchFamily="34" charset="0"/>
        <a:buChar char="•"/>
        <a:defRPr sz="1600" kern="1200">
          <a:solidFill>
            <a:schemeClr val="tx1"/>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436" userDrawn="1">
          <p15:clr>
            <a:srgbClr val="F26B43"/>
          </p15:clr>
        </p15:guide>
        <p15:guide id="3" pos="7227" userDrawn="1">
          <p15:clr>
            <a:srgbClr val="F26B43"/>
          </p15:clr>
        </p15:guide>
        <p15:guide id="4" orient="horz" pos="3884" userDrawn="1">
          <p15:clr>
            <a:srgbClr val="F26B43"/>
          </p15:clr>
        </p15:guide>
        <p15:guide id="5" orient="horz" pos="133" userDrawn="1">
          <p15:clr>
            <a:srgbClr val="F26B43"/>
          </p15:clr>
        </p15:guide>
        <p15:guide id="6" pos="7560" userDrawn="1">
          <p15:clr>
            <a:srgbClr val="F26B43"/>
          </p15:clr>
        </p15:guide>
        <p15:guide id="7" orient="horz" pos="4187" userDrawn="1">
          <p15:clr>
            <a:srgbClr val="F26B43"/>
          </p15:clr>
        </p15:guide>
        <p15:guide id="8" pos="120" userDrawn="1">
          <p15:clr>
            <a:srgbClr val="F26B43"/>
          </p15:clr>
        </p15:guide>
        <p15:guide id="9" pos="3840" userDrawn="1">
          <p15:clr>
            <a:srgbClr val="F26B43"/>
          </p15:clr>
        </p15:guide>
        <p15:guide id="10" orient="horz" pos="4096" userDrawn="1">
          <p15:clr>
            <a:srgbClr val="F26B43"/>
          </p15:clr>
        </p15:guide>
        <p15:guide id="11" orient="horz" pos="119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6AE81F-6D41-4281-9AD8-7C67808ED46B}"/>
              </a:ext>
            </a:extLst>
          </p:cNvPr>
          <p:cNvGraphicFramePr>
            <a:graphicFrameLocks noChangeAspect="1"/>
          </p:cNvGraphicFramePr>
          <p:nvPr userDrawn="1">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16AE81F-6D41-4281-9AD8-7C67808ED46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711533" y="692151"/>
            <a:ext cx="10760801" cy="392709"/>
          </a:xfrm>
          <a:prstGeom prst="rect">
            <a:avLst/>
          </a:prstGeom>
        </p:spPr>
        <p:txBody>
          <a:bodyPr vert="horz" lIns="0" tIns="0" rIns="0" bIns="0" rtlCol="0" anchor="b" anchorCtr="0">
            <a:normAutofit/>
          </a:bodyPr>
          <a:lstStyle/>
          <a:p>
            <a:r>
              <a:rPr lang="en-GB" noProof="0"/>
              <a:t>Click to edit title</a:t>
            </a:r>
          </a:p>
        </p:txBody>
      </p:sp>
      <p:sp>
        <p:nvSpPr>
          <p:cNvPr id="3" name="Text Placeholder 2"/>
          <p:cNvSpPr>
            <a:spLocks noGrp="1"/>
          </p:cNvSpPr>
          <p:nvPr>
            <p:ph type="body" idx="1"/>
          </p:nvPr>
        </p:nvSpPr>
        <p:spPr>
          <a:xfrm>
            <a:off x="711532" y="1417673"/>
            <a:ext cx="10752664" cy="4737128"/>
          </a:xfrm>
          <a:prstGeom prst="rect">
            <a:avLst/>
          </a:prstGeom>
        </p:spPr>
        <p:txBody>
          <a:bodyPr vert="horz" lIns="0" tIns="0" rIns="0" bIns="0" rtlCol="0" anchor="t" anchorCtr="0">
            <a:normAutofit/>
          </a:bodyPr>
          <a:lstStyle/>
          <a:p>
            <a:pPr lvl="0"/>
            <a:r>
              <a:rPr lang="en-GB" noProof="0"/>
              <a:t>Insert text</a:t>
            </a:r>
          </a:p>
        </p:txBody>
      </p:sp>
      <p:sp>
        <p:nvSpPr>
          <p:cNvPr id="19" name="Text Placeholder 10">
            <a:extLst>
              <a:ext uri="{FF2B5EF4-FFF2-40B4-BE49-F238E27FC236}">
                <a16:creationId xmlns:a16="http://schemas.microsoft.com/office/drawing/2014/main" id="{4BD53941-A3E4-3748-8EC9-CCB59BD453DC}"/>
              </a:ext>
            </a:extLst>
          </p:cNvPr>
          <p:cNvSpPr txBox="1">
            <a:spLocks/>
          </p:cNvSpPr>
          <p:nvPr userDrawn="1"/>
        </p:nvSpPr>
        <p:spPr>
          <a:xfrm>
            <a:off x="711532" y="1237415"/>
            <a:ext cx="172800" cy="24000"/>
          </a:xfrm>
          <a:prstGeom prst="rect">
            <a:avLst/>
          </a:prstGeom>
          <a:blipFill>
            <a:blip r:embed="rId6">
              <a:extLst>
                <a:ext uri="{96DAC541-7B7A-43D3-8B79-37D633B846F1}">
                  <asvg:svgBlip xmlns:asvg="http://schemas.microsoft.com/office/drawing/2016/SVG/main" r:embed="rId7"/>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33" noProof="0"/>
              <a:t>.</a:t>
            </a:r>
          </a:p>
        </p:txBody>
      </p:sp>
      <p:sp>
        <p:nvSpPr>
          <p:cNvPr id="34" name="TextBox 33">
            <a:extLst>
              <a:ext uri="{FF2B5EF4-FFF2-40B4-BE49-F238E27FC236}">
                <a16:creationId xmlns:a16="http://schemas.microsoft.com/office/drawing/2014/main" id="{1AEAFE48-E092-0541-90A9-7A19F42A2DFC}"/>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GB" sz="1067" noProof="0" smtClean="0"/>
              <a:pPr algn="r"/>
              <a:t>‹#›</a:t>
            </a:fld>
            <a:endParaRPr lang="en-GB" sz="1067" noProof="0"/>
          </a:p>
        </p:txBody>
      </p:sp>
      <p:pic>
        <p:nvPicPr>
          <p:cNvPr id="8" name="Graphic 7">
            <a:extLst>
              <a:ext uri="{FF2B5EF4-FFF2-40B4-BE49-F238E27FC236}">
                <a16:creationId xmlns:a16="http://schemas.microsoft.com/office/drawing/2014/main" id="{23D0037D-EE45-41AD-8D3B-B6FE11EFED12}"/>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19667" y="6381955"/>
            <a:ext cx="1038892" cy="146304"/>
          </a:xfrm>
          <a:prstGeom prst="rect">
            <a:avLst/>
          </a:prstGeom>
        </p:spPr>
      </p:pic>
    </p:spTree>
    <p:extLst>
      <p:ext uri="{BB962C8B-B14F-4D97-AF65-F5344CB8AC3E}">
        <p14:creationId xmlns:p14="http://schemas.microsoft.com/office/powerpoint/2010/main" val="3913860430"/>
      </p:ext>
    </p:extLst>
  </p:cSld>
  <p:clrMap bg1="lt1" tx1="dk1" bg2="lt2" tx2="dk2" accent1="accent1" accent2="accent2" accent3="accent3" accent4="accent4" accent5="accent5" accent6="accent6" hlink="hlink" folHlink="folHlink"/>
  <p:sldLayoutIdLst>
    <p:sldLayoutId id="2147483682" r:id="rId1"/>
  </p:sldLayoutIdLst>
  <p:hf sldNum="0" hdr="0" ftr="0" dt="0"/>
  <p:txStyles>
    <p:titleStyle>
      <a:lvl1pPr algn="l" defTabSz="685800" rtl="0" eaLnBrk="1" latinLnBrk="0" hangingPunct="1">
        <a:lnSpc>
          <a:spcPts val="2300"/>
        </a:lnSpc>
        <a:spcBef>
          <a:spcPct val="0"/>
        </a:spcBef>
        <a:buNone/>
        <a:defRPr sz="2200" b="1" kern="1200">
          <a:solidFill>
            <a:schemeClr val="tx1"/>
          </a:solidFill>
          <a:latin typeface="+mj-lt"/>
          <a:ea typeface="+mj-ea"/>
          <a:cs typeface="+mj-cs"/>
        </a:defRPr>
      </a:lvl1pPr>
    </p:titleStyle>
    <p:bodyStyle>
      <a:lvl1pPr marL="285750" indent="-285750" algn="l" defTabSz="685800" rtl="0" eaLnBrk="1" latinLnBrk="0" hangingPunct="1">
        <a:lnSpc>
          <a:spcPct val="100000"/>
        </a:lnSpc>
        <a:spcBef>
          <a:spcPts val="750"/>
        </a:spcBef>
        <a:buClr>
          <a:schemeClr val="tx1"/>
        </a:buClr>
        <a:buFont typeface="Arial" panose="020B0604020202020204" pitchFamily="34" charset="0"/>
        <a:buChar char="•"/>
        <a:defRPr sz="1600" kern="1200">
          <a:solidFill>
            <a:schemeClr val="tx1"/>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orient="horz" pos="327" userDrawn="1">
          <p15:clr>
            <a:srgbClr val="F26B43"/>
          </p15:clr>
        </p15:guide>
        <p15:guide id="3" pos="5420" userDrawn="1">
          <p15:clr>
            <a:srgbClr val="F26B43"/>
          </p15:clr>
        </p15:guide>
        <p15:guide id="4" orient="horz" pos="2913" userDrawn="1">
          <p15:clr>
            <a:srgbClr val="F26B43"/>
          </p15:clr>
        </p15:guide>
        <p15:guide id="5" orient="horz" pos="100" userDrawn="1">
          <p15:clr>
            <a:srgbClr val="F26B43"/>
          </p15:clr>
        </p15:guide>
        <p15:guide id="6" pos="5671" userDrawn="1">
          <p15:clr>
            <a:srgbClr val="F26B43"/>
          </p15:clr>
        </p15:guide>
        <p15:guide id="7" orient="horz" pos="3140" userDrawn="1">
          <p15:clr>
            <a:srgbClr val="F26B43"/>
          </p15:clr>
        </p15:guide>
        <p15:guide id="8" pos="91" userDrawn="1">
          <p15:clr>
            <a:srgbClr val="F26B43"/>
          </p15:clr>
        </p15:guide>
        <p15:guide id="9" pos="2880" userDrawn="1">
          <p15:clr>
            <a:srgbClr val="F26B43"/>
          </p15:clr>
        </p15:guide>
        <p15:guide id="10" orient="horz" pos="3072" userDrawn="1">
          <p15:clr>
            <a:srgbClr val="F26B43"/>
          </p15:clr>
        </p15:guide>
        <p15:guide id="11" orient="horz" pos="895"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D89504-890C-435B-B7A2-2FF76CB8D144}"/>
              </a:ext>
            </a:extLst>
          </p:cNvPr>
          <p:cNvGraphicFramePr>
            <a:graphicFrameLocks noChangeAspect="1"/>
          </p:cNvGraphicFramePr>
          <p:nvPr userDrawn="1">
            <p:custDataLst>
              <p:tags r:id="rId5"/>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E4D89504-890C-435B-B7A2-2FF76CB8D144}"/>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711533" y="692151"/>
            <a:ext cx="10760801" cy="392709"/>
          </a:xfrm>
          <a:prstGeom prst="rect">
            <a:avLst/>
          </a:prstGeom>
        </p:spPr>
        <p:txBody>
          <a:bodyPr vert="horz" lIns="0" tIns="0" rIns="0" bIns="0" rtlCol="0" anchor="b" anchorCtr="0">
            <a:normAutofit/>
          </a:bodyPr>
          <a:lstStyle/>
          <a:p>
            <a:r>
              <a:rPr lang="en-US" noProof="0"/>
              <a:t>Click to edit Master title style</a:t>
            </a:r>
          </a:p>
        </p:txBody>
      </p:sp>
      <p:sp>
        <p:nvSpPr>
          <p:cNvPr id="3" name="Text Placeholder 2"/>
          <p:cNvSpPr>
            <a:spLocks noGrp="1"/>
          </p:cNvSpPr>
          <p:nvPr>
            <p:ph type="body" idx="1"/>
          </p:nvPr>
        </p:nvSpPr>
        <p:spPr>
          <a:xfrm>
            <a:off x="719667" y="1413971"/>
            <a:ext cx="10752664" cy="4737128"/>
          </a:xfrm>
          <a:prstGeom prst="rect">
            <a:avLst/>
          </a:prstGeom>
        </p:spPr>
        <p:txBody>
          <a:bodyPr vert="horz" lIns="0" tIns="0" rIns="0" bIns="0" rtlCol="0" anchor="t" anchorCtr="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Footer Placeholder 29">
            <a:extLst>
              <a:ext uri="{FF2B5EF4-FFF2-40B4-BE49-F238E27FC236}">
                <a16:creationId xmlns:a16="http://schemas.microsoft.com/office/drawing/2014/main" id="{215D774B-28C5-BC4B-8793-6A356D106925}"/>
              </a:ext>
            </a:extLst>
          </p:cNvPr>
          <p:cNvSpPr>
            <a:spLocks noGrp="1"/>
          </p:cNvSpPr>
          <p:nvPr>
            <p:ph type="ftr" sz="quarter" idx="3"/>
          </p:nvPr>
        </p:nvSpPr>
        <p:spPr>
          <a:xfrm>
            <a:off x="6378055" y="6384210"/>
            <a:ext cx="4114800" cy="262125"/>
          </a:xfrm>
          <a:prstGeom prst="rect">
            <a:avLst/>
          </a:prstGeom>
        </p:spPr>
        <p:txBody>
          <a:bodyPr vert="horz" lIns="0" tIns="0" rIns="0" bIns="0" rtlCol="0" anchor="t" anchorCtr="0"/>
          <a:lstStyle>
            <a:lvl1pPr algn="l">
              <a:defRPr sz="1067">
                <a:solidFill>
                  <a:schemeClr val="tx1"/>
                </a:solidFill>
              </a:defRPr>
            </a:lvl1pPr>
          </a:lstStyle>
          <a:p>
            <a:r>
              <a:rPr lang="en-US" noProof="0"/>
              <a:t>Add client name in "Header and footer" or place logo here</a:t>
            </a:r>
          </a:p>
        </p:txBody>
      </p:sp>
      <p:pic>
        <p:nvPicPr>
          <p:cNvPr id="40" name="Graphic 39">
            <a:extLst>
              <a:ext uri="{FF2B5EF4-FFF2-40B4-BE49-F238E27FC236}">
                <a16:creationId xmlns:a16="http://schemas.microsoft.com/office/drawing/2014/main" id="{B72E8D6A-FA7B-7341-A767-0D888E9CD45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19668" y="6399520"/>
            <a:ext cx="1008001" cy="134400"/>
          </a:xfrm>
          <a:prstGeom prst="rect">
            <a:avLst/>
          </a:prstGeom>
        </p:spPr>
      </p:pic>
      <p:sp>
        <p:nvSpPr>
          <p:cNvPr id="19" name="Text Placeholder 10">
            <a:extLst>
              <a:ext uri="{FF2B5EF4-FFF2-40B4-BE49-F238E27FC236}">
                <a16:creationId xmlns:a16="http://schemas.microsoft.com/office/drawing/2014/main" id="{4BD53941-A3E4-3748-8EC9-CCB59BD453DC}"/>
              </a:ext>
            </a:extLst>
          </p:cNvPr>
          <p:cNvSpPr txBox="1">
            <a:spLocks/>
          </p:cNvSpPr>
          <p:nvPr userDrawn="1"/>
        </p:nvSpPr>
        <p:spPr>
          <a:xfrm>
            <a:off x="711532" y="1237415"/>
            <a:ext cx="172800" cy="24000"/>
          </a:xfrm>
          <a:prstGeom prst="rect">
            <a:avLst/>
          </a:prstGeom>
          <a:blipFill>
            <a:blip r:embed="rId10">
              <a:extLst>
                <a:ext uri="{96DAC541-7B7A-43D3-8B79-37D633B846F1}">
                  <asvg:svgBlip xmlns:asvg="http://schemas.microsoft.com/office/drawing/2016/SVG/main" r:embed="rId11"/>
                </a:ext>
              </a:extLst>
            </a:blip>
            <a:stretch>
              <a:fillRect/>
            </a:stretch>
          </a:blipFill>
        </p:spPr>
        <p:txBody>
          <a:bodyPr bIns="9600">
            <a:noAutofit/>
          </a:bodyPr>
          <a:lstStyle>
            <a:lvl1pPr marL="0" indent="0" algn="l" defTabSz="685800" rtl="0" eaLnBrk="1" latinLnBrk="0" hangingPunct="1">
              <a:lnSpc>
                <a:spcPct val="100000"/>
              </a:lnSpc>
              <a:spcBef>
                <a:spcPts val="750"/>
              </a:spcBef>
              <a:buClr>
                <a:schemeClr val="tx1"/>
              </a:buClr>
              <a:buFontTx/>
              <a:buNone/>
              <a:defRPr sz="100"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33" noProof="0"/>
              <a:t>.</a:t>
            </a:r>
          </a:p>
        </p:txBody>
      </p:sp>
      <p:sp>
        <p:nvSpPr>
          <p:cNvPr id="34" name="TextBox 33">
            <a:extLst>
              <a:ext uri="{FF2B5EF4-FFF2-40B4-BE49-F238E27FC236}">
                <a16:creationId xmlns:a16="http://schemas.microsoft.com/office/drawing/2014/main" id="{1AEAFE48-E092-0541-90A9-7A19F42A2DFC}"/>
              </a:ext>
            </a:extLst>
          </p:cNvPr>
          <p:cNvSpPr txBox="1"/>
          <p:nvPr userDrawn="1"/>
        </p:nvSpPr>
        <p:spPr>
          <a:xfrm>
            <a:off x="10756493" y="6384207"/>
            <a:ext cx="715841" cy="262127"/>
          </a:xfrm>
          <a:prstGeom prst="rect">
            <a:avLst/>
          </a:prstGeom>
          <a:noFill/>
        </p:spPr>
        <p:txBody>
          <a:bodyPr wrap="square" lIns="0" tIns="0" rIns="0" bIns="0" rtlCol="0">
            <a:noAutofit/>
          </a:bodyPr>
          <a:lstStyle/>
          <a:p>
            <a:pPr algn="r"/>
            <a:fld id="{59836263-BA1D-3449-85A4-C83D0CFDFF94}" type="slidenum">
              <a:rPr lang="en-US" sz="1067" noProof="0" smtClean="0"/>
              <a:pPr algn="r"/>
              <a:t>‹#›</a:t>
            </a:fld>
            <a:endParaRPr lang="en-US" sz="1067" noProof="0"/>
          </a:p>
        </p:txBody>
      </p:sp>
    </p:spTree>
    <p:extLst>
      <p:ext uri="{BB962C8B-B14F-4D97-AF65-F5344CB8AC3E}">
        <p14:creationId xmlns:p14="http://schemas.microsoft.com/office/powerpoint/2010/main" val="3108030308"/>
      </p:ext>
    </p:extLst>
  </p:cSld>
  <p:clrMap bg1="lt1" tx1="dk1" bg2="lt2" tx2="dk2" accent1="accent1" accent2="accent2" accent3="accent3" accent4="accent4" accent5="accent5" accent6="accent6" hlink="hlink" folHlink="folHlink"/>
  <p:sldLayoutIdLst>
    <p:sldLayoutId id="2147483735" r:id="rId1"/>
    <p:sldLayoutId id="2147483727" r:id="rId2"/>
    <p:sldLayoutId id="2147483783" r:id="rId3"/>
  </p:sldLayoutIdLst>
  <p:hf sldNum="0" hdr="0" ftr="0" dt="0"/>
  <p:txStyles>
    <p:titleStyle>
      <a:lvl1pPr algn="l" defTabSz="685800" rtl="0" eaLnBrk="1" latinLnBrk="0" hangingPunct="1">
        <a:lnSpc>
          <a:spcPts val="23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tx1"/>
        </a:buClr>
        <a:buFont typeface="Arial" panose="020B0604020202020204" pitchFamily="34" charset="0"/>
        <a:buChar char="•"/>
        <a:defRPr sz="1600" kern="1200">
          <a:solidFill>
            <a:schemeClr val="tx1"/>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436" userDrawn="1">
          <p15:clr>
            <a:srgbClr val="F26B43"/>
          </p15:clr>
        </p15:guide>
        <p15:guide id="3" pos="7227" userDrawn="1">
          <p15:clr>
            <a:srgbClr val="F26B43"/>
          </p15:clr>
        </p15:guide>
        <p15:guide id="4" orient="horz" pos="3884" userDrawn="1">
          <p15:clr>
            <a:srgbClr val="F26B43"/>
          </p15:clr>
        </p15:guide>
        <p15:guide id="5" orient="horz" pos="133" userDrawn="1">
          <p15:clr>
            <a:srgbClr val="F26B43"/>
          </p15:clr>
        </p15:guide>
        <p15:guide id="6" pos="7560" userDrawn="1">
          <p15:clr>
            <a:srgbClr val="F26B43"/>
          </p15:clr>
        </p15:guide>
        <p15:guide id="7" orient="horz" pos="4187" userDrawn="1">
          <p15:clr>
            <a:srgbClr val="F26B43"/>
          </p15:clr>
        </p15:guide>
        <p15:guide id="8" pos="120" userDrawn="1">
          <p15:clr>
            <a:srgbClr val="F26B43"/>
          </p15:clr>
        </p15:guide>
        <p15:guide id="9" pos="3840" userDrawn="1">
          <p15:clr>
            <a:srgbClr val="F26B43"/>
          </p15:clr>
        </p15:guide>
        <p15:guide id="10" orient="horz" pos="4096" userDrawn="1">
          <p15:clr>
            <a:srgbClr val="F26B43"/>
          </p15:clr>
        </p15:guide>
        <p15:guide id="11" orient="horz" pos="119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1.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14.xml"/><Relationship Id="rId16" Type="http://schemas.openxmlformats.org/officeDocument/2006/relationships/image" Target="../media/image23.svg"/><Relationship Id="rId1" Type="http://schemas.openxmlformats.org/officeDocument/2006/relationships/tags" Target="../tags/tag13.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6.bin"/><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notesSlide" Target="../notesSlides/notesSlide7.xml"/><Relationship Id="rId9" Type="http://schemas.openxmlformats.org/officeDocument/2006/relationships/image" Target="../media/image16.png"/><Relationship Id="rId14" Type="http://schemas.openxmlformats.org/officeDocument/2006/relationships/image" Target="../media/image21.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5.xml"/><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6.xml"/><Relationship Id="rId16" Type="http://schemas.openxmlformats.org/officeDocument/2006/relationships/image" Target="../media/image23.svg"/><Relationship Id="rId1" Type="http://schemas.openxmlformats.org/officeDocument/2006/relationships/tags" Target="../tags/tag5.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4.bin"/><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notesSlide" Target="../notesSlides/notesSlide1.xml"/><Relationship Id="rId9" Type="http://schemas.openxmlformats.org/officeDocument/2006/relationships/image" Target="../media/image16.png"/><Relationship Id="rId14" Type="http://schemas.openxmlformats.org/officeDocument/2006/relationships/image" Target="../media/image21.sv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Layout" Target="../diagrams/layout3.xml"/><Relationship Id="rId7" Type="http://schemas.openxmlformats.org/officeDocument/2006/relationships/image" Target="../media/image49.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52.png"/><Relationship Id="rId4" Type="http://schemas.openxmlformats.org/officeDocument/2006/relationships/diagramQuickStyle" Target="../diagrams/quickStyle3.xml"/><Relationship Id="rId9" Type="http://schemas.openxmlformats.org/officeDocument/2006/relationships/image" Target="../media/image51.png"/></Relationships>
</file>

<file path=ppt/slides/_rels/slide2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Layout" Target="../diagrams/layout4.xml"/><Relationship Id="rId7" Type="http://schemas.openxmlformats.org/officeDocument/2006/relationships/image" Target="../media/image49.png"/><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10" Type="http://schemas.openxmlformats.org/officeDocument/2006/relationships/image" Target="../media/image52.png"/><Relationship Id="rId4" Type="http://schemas.openxmlformats.org/officeDocument/2006/relationships/diagramQuickStyle" Target="../diagrams/quickStyle4.xml"/><Relationship Id="rId9" Type="http://schemas.openxmlformats.org/officeDocument/2006/relationships/image" Target="../media/image51.png"/></Relationships>
</file>

<file path=ppt/slides/_rels/slide2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Layout" Target="../diagrams/layout5.xml"/><Relationship Id="rId7" Type="http://schemas.openxmlformats.org/officeDocument/2006/relationships/image" Target="../media/image49.png"/><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52.png"/><Relationship Id="rId4" Type="http://schemas.openxmlformats.org/officeDocument/2006/relationships/diagramQuickStyle" Target="../diagrams/quickStyle5.xml"/><Relationship Id="rId9"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Layout" Target="../diagrams/layout6.xml"/><Relationship Id="rId7" Type="http://schemas.openxmlformats.org/officeDocument/2006/relationships/image" Target="../media/image49.png"/><Relationship Id="rId2" Type="http://schemas.openxmlformats.org/officeDocument/2006/relationships/diagramData" Target="../diagrams/data6.xml"/><Relationship Id="rId1" Type="http://schemas.openxmlformats.org/officeDocument/2006/relationships/slideLayout" Target="../slideLayouts/slideLayout11.xml"/><Relationship Id="rId6" Type="http://schemas.microsoft.com/office/2007/relationships/diagramDrawing" Target="../diagrams/drawing6.xml"/><Relationship Id="rId5" Type="http://schemas.openxmlformats.org/officeDocument/2006/relationships/diagramColors" Target="../diagrams/colors6.xml"/><Relationship Id="rId10" Type="http://schemas.openxmlformats.org/officeDocument/2006/relationships/image" Target="../media/image52.png"/><Relationship Id="rId4" Type="http://schemas.openxmlformats.org/officeDocument/2006/relationships/diagramQuickStyle" Target="../diagrams/quickStyle6.xml"/><Relationship Id="rId9"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1.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1.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1.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1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2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hyperlink" Target="http://www.connellybarnes.com/" TargetMode="External"/><Relationship Id="rId5" Type="http://schemas.openxmlformats.org/officeDocument/2006/relationships/image" Target="../media/image56.svg"/><Relationship Id="rId4" Type="http://schemas.openxmlformats.org/officeDocument/2006/relationships/image" Target="../media/image5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22.xml"/><Relationship Id="rId4" Type="http://schemas.openxmlformats.org/officeDocument/2006/relationships/image" Target="../media/image5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23.xml"/><Relationship Id="rId5" Type="http://schemas.openxmlformats.org/officeDocument/2006/relationships/image" Target="../media/image59.svg"/><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24.xml"/><Relationship Id="rId4" Type="http://schemas.openxmlformats.org/officeDocument/2006/relationships/image" Target="../media/image57.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25.xml"/><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26.xml"/><Relationship Id="rId4" Type="http://schemas.openxmlformats.org/officeDocument/2006/relationships/image" Target="../media/image6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27.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28.xml"/><Relationship Id="rId4" Type="http://schemas.openxmlformats.org/officeDocument/2006/relationships/image" Target="../media/image62.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29.xml"/><Relationship Id="rId4" Type="http://schemas.openxmlformats.org/officeDocument/2006/relationships/image" Target="../media/image62.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30.xml"/><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31.xml"/><Relationship Id="rId4" Type="http://schemas.openxmlformats.org/officeDocument/2006/relationships/image" Target="../media/image62.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32.xml"/><Relationship Id="rId4" Type="http://schemas.openxmlformats.org/officeDocument/2006/relationships/image" Target="../media/image62.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1.xml"/><Relationship Id="rId1" Type="http://schemas.openxmlformats.org/officeDocument/2006/relationships/tags" Target="../tags/tag33.xml"/><Relationship Id="rId4" Type="http://schemas.openxmlformats.org/officeDocument/2006/relationships/image" Target="../media/image63.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34.xml"/><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xml"/><Relationship Id="rId1" Type="http://schemas.openxmlformats.org/officeDocument/2006/relationships/tags" Target="../tags/tag35.xml"/><Relationship Id="rId4" Type="http://schemas.openxmlformats.org/officeDocument/2006/relationships/image" Target="../media/image61.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xml"/><Relationship Id="rId1" Type="http://schemas.openxmlformats.org/officeDocument/2006/relationships/tags" Target="../tags/tag36.xml"/><Relationship Id="rId5" Type="http://schemas.openxmlformats.org/officeDocument/2006/relationships/image" Target="../media/image65.png"/><Relationship Id="rId4" Type="http://schemas.openxmlformats.org/officeDocument/2006/relationships/image" Target="../media/image64.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37.xml"/><Relationship Id="rId5" Type="http://schemas.openxmlformats.org/officeDocument/2006/relationships/image" Target="../media/image64.png"/><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38.xml"/><Relationship Id="rId5" Type="http://schemas.openxmlformats.org/officeDocument/2006/relationships/image" Target="../media/image64.png"/><Relationship Id="rId4" Type="http://schemas.openxmlformats.org/officeDocument/2006/relationships/image" Target="../media/image66.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xml"/><Relationship Id="rId1" Type="http://schemas.openxmlformats.org/officeDocument/2006/relationships/tags" Target="../tags/tag39.xml"/><Relationship Id="rId5" Type="http://schemas.openxmlformats.org/officeDocument/2006/relationships/image" Target="../media/image64.png"/><Relationship Id="rId4" Type="http://schemas.openxmlformats.org/officeDocument/2006/relationships/image" Target="../media/image67.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1.xml"/><Relationship Id="rId1" Type="http://schemas.openxmlformats.org/officeDocument/2006/relationships/tags" Target="../tags/tag40.xml"/><Relationship Id="rId5" Type="http://schemas.openxmlformats.org/officeDocument/2006/relationships/image" Target="../media/image64.png"/><Relationship Id="rId4" Type="http://schemas.openxmlformats.org/officeDocument/2006/relationships/image" Target="../media/image67.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xml"/><Relationship Id="rId1" Type="http://schemas.openxmlformats.org/officeDocument/2006/relationships/tags" Target="../tags/tag42.xml"/><Relationship Id="rId5" Type="http://schemas.openxmlformats.org/officeDocument/2006/relationships/image" Target="../media/image71.png"/><Relationship Id="rId4" Type="http://schemas.openxmlformats.org/officeDocument/2006/relationships/image" Target="../media/image68.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1.xml"/><Relationship Id="rId1" Type="http://schemas.openxmlformats.org/officeDocument/2006/relationships/tags" Target="../tags/tag4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1.xml"/><Relationship Id="rId1" Type="http://schemas.openxmlformats.org/officeDocument/2006/relationships/tags" Target="../tags/tag44.xml"/><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72.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1.xml"/><Relationship Id="rId1" Type="http://schemas.openxmlformats.org/officeDocument/2006/relationships/tags" Target="../tags/tag45.xml"/><Relationship Id="rId5" Type="http://schemas.openxmlformats.org/officeDocument/2006/relationships/image" Target="../media/image78.png"/><Relationship Id="rId4" Type="http://schemas.openxmlformats.org/officeDocument/2006/relationships/image" Target="../media/image77.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xml"/><Relationship Id="rId1" Type="http://schemas.openxmlformats.org/officeDocument/2006/relationships/tags" Target="../tags/tag46.xml"/><Relationship Id="rId5" Type="http://schemas.openxmlformats.org/officeDocument/2006/relationships/image" Target="../media/image79.png"/><Relationship Id="rId4" Type="http://schemas.openxmlformats.org/officeDocument/2006/relationships/image" Target="../media/image77.png"/></Relationships>
</file>

<file path=ppt/slides/_rels/slide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image" Target="../media/image30.emf"/><Relationship Id="rId4" Type="http://schemas.openxmlformats.org/officeDocument/2006/relationships/image" Target="../media/image29.emf"/></Relationships>
</file>

<file path=ppt/slides/_rels/slide70.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48.xml"/><Relationship Id="rId16" Type="http://schemas.openxmlformats.org/officeDocument/2006/relationships/image" Target="../media/image23.svg"/><Relationship Id="rId1" Type="http://schemas.openxmlformats.org/officeDocument/2006/relationships/tags" Target="../tags/tag47.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5.bin"/><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notesSlide" Target="../notesSlides/notesSlide39.xml"/><Relationship Id="rId9" Type="http://schemas.openxmlformats.org/officeDocument/2006/relationships/image" Target="../media/image16.png"/><Relationship Id="rId14" Type="http://schemas.openxmlformats.org/officeDocument/2006/relationships/image" Target="../media/image21.sv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40.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0.gi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41.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1.jpe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notesSlide" Target="../notesSlides/notesSlide42.xml"/></Relationships>
</file>

<file path=ppt/slides/_rels/slide7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1.xml"/><Relationship Id="rId7" Type="http://schemas.openxmlformats.org/officeDocument/2006/relationships/image" Target="../media/image82.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notesSlide" Target="../notesSlides/notesSlide43.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notesSlide" Target="../notesSlides/notesSlide44.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45.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notesSlide" Target="../notesSlides/notesSlide46.xml"/></Relationships>
</file>

<file path=ppt/slides/_rels/slide7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1.xml"/><Relationship Id="rId7" Type="http://schemas.openxmlformats.org/officeDocument/2006/relationships/image" Target="../media/image84.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notesSlide" Target="../notesSlides/notesSlide47.xml"/><Relationship Id="rId9" Type="http://schemas.openxmlformats.org/officeDocument/2006/relationships/image" Target="../media/image86.png"/></Relationships>
</file>

<file path=ppt/slides/_rels/slide7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1.xml"/><Relationship Id="rId7" Type="http://schemas.openxmlformats.org/officeDocument/2006/relationships/oleObject" Target="../embeddings/oleObject16.bin"/><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notesSlide" Target="../notesSlides/notesSlide48.xml"/><Relationship Id="rId9" Type="http://schemas.openxmlformats.org/officeDocument/2006/relationships/image" Target="../media/image89.png"/></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9.xml"/><Relationship Id="rId16" Type="http://schemas.openxmlformats.org/officeDocument/2006/relationships/image" Target="../media/image23.svg"/><Relationship Id="rId1" Type="http://schemas.openxmlformats.org/officeDocument/2006/relationships/tags" Target="../tags/tag8.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5.bin"/><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notesSlide" Target="../notesSlides/notesSlide3.xml"/><Relationship Id="rId9" Type="http://schemas.openxmlformats.org/officeDocument/2006/relationships/image" Target="../media/image16.png"/><Relationship Id="rId14" Type="http://schemas.openxmlformats.org/officeDocument/2006/relationships/image" Target="../media/image21.svg"/></Relationships>
</file>

<file path=ppt/slides/_rels/slide8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11.xml"/><Relationship Id="rId7" Type="http://schemas.openxmlformats.org/officeDocument/2006/relationships/image" Target="../media/image9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notesSlide" Target="../notesSlides/notesSlide49.xml"/><Relationship Id="rId9" Type="http://schemas.openxmlformats.org/officeDocument/2006/relationships/image" Target="../media/image92.png"/></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notesSlide" Target="../notesSlides/notesSlide50.xml"/></Relationships>
</file>

<file path=ppt/slides/_rels/slide8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11.xml"/><Relationship Id="rId7" Type="http://schemas.openxmlformats.org/officeDocument/2006/relationships/image" Target="../media/image93.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3.emf"/><Relationship Id="rId11" Type="http://schemas.openxmlformats.org/officeDocument/2006/relationships/image" Target="../media/image97.jpeg"/><Relationship Id="rId5" Type="http://schemas.openxmlformats.org/officeDocument/2006/relationships/oleObject" Target="../embeddings/oleObject19.bin"/><Relationship Id="rId10" Type="http://schemas.openxmlformats.org/officeDocument/2006/relationships/image" Target="../media/image96.jpeg"/><Relationship Id="rId4" Type="http://schemas.openxmlformats.org/officeDocument/2006/relationships/notesSlide" Target="../notesSlides/notesSlide51.xml"/><Relationship Id="rId9" Type="http://schemas.openxmlformats.org/officeDocument/2006/relationships/image" Target="../media/image95.png"/></Relationships>
</file>

<file path=ppt/slides/_rels/slide83.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74.xml"/><Relationship Id="rId16" Type="http://schemas.openxmlformats.org/officeDocument/2006/relationships/image" Target="../media/image23.svg"/><Relationship Id="rId1" Type="http://schemas.openxmlformats.org/officeDocument/2006/relationships/tags" Target="../tags/tag73.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5.bin"/><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notesSlide" Target="../notesSlides/notesSlide52.xml"/><Relationship Id="rId9" Type="http://schemas.openxmlformats.org/officeDocument/2006/relationships/image" Target="../media/image16.png"/><Relationship Id="rId14" Type="http://schemas.openxmlformats.org/officeDocument/2006/relationships/image" Target="../media/image21.sv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hyperlink" Target="https://github.com/truongnln2/mvc-dp-presentation" TargetMode="External"/><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99.png"/><Relationship Id="rId4" Type="http://schemas.openxmlformats.org/officeDocument/2006/relationships/image" Target="../media/image98.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10.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ED919DA-C05D-4D6E-93E0-B7EB2412AF43}"/>
              </a:ext>
            </a:extLst>
          </p:cNvPr>
          <p:cNvSpPr>
            <a:spLocks noGrp="1"/>
          </p:cNvSpPr>
          <p:nvPr>
            <p:ph type="body" sz="quarter" idx="12"/>
          </p:nvPr>
        </p:nvSpPr>
        <p:spPr>
          <a:xfrm>
            <a:off x="1534583" y="1247163"/>
            <a:ext cx="1678635" cy="386054"/>
          </a:xfrm>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cap="none" err="1"/>
              <a:t>CoEs</a:t>
            </a:r>
            <a:endParaRPr lang="en-US" cap="none"/>
          </a:p>
        </p:txBody>
      </p:sp>
      <p:sp>
        <p:nvSpPr>
          <p:cNvPr id="12" name="Text Placeholder 11">
            <a:extLst>
              <a:ext uri="{FF2B5EF4-FFF2-40B4-BE49-F238E27FC236}">
                <a16:creationId xmlns:a16="http://schemas.microsoft.com/office/drawing/2014/main" id="{3125D84E-950D-4E00-9AC1-FC438AEB4A7A}"/>
              </a:ext>
            </a:extLst>
          </p:cNvPr>
          <p:cNvSpPr>
            <a:spLocks noGrp="1"/>
          </p:cNvSpPr>
          <p:nvPr>
            <p:ph type="body" sz="quarter" idx="4294967295"/>
          </p:nvPr>
        </p:nvSpPr>
        <p:spPr>
          <a:xfrm>
            <a:off x="1534584" y="3227677"/>
            <a:ext cx="172800" cy="24000"/>
          </a:xfrm>
        </p:spPr>
        <p:txBody>
          <a:bodyPr>
            <a:normAutofit fontScale="25000" lnSpcReduction="20000"/>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US"/>
          </a:p>
        </p:txBody>
      </p:sp>
      <p:sp>
        <p:nvSpPr>
          <p:cNvPr id="8" name="Text Placeholder 7">
            <a:extLst>
              <a:ext uri="{FF2B5EF4-FFF2-40B4-BE49-F238E27FC236}">
                <a16:creationId xmlns:a16="http://schemas.microsoft.com/office/drawing/2014/main" id="{25F5B4B5-477D-4E94-9B40-3BAB12E915CD}"/>
              </a:ext>
            </a:extLst>
          </p:cNvPr>
          <p:cNvSpPr>
            <a:spLocks noGrp="1"/>
          </p:cNvSpPr>
          <p:nvPr>
            <p:ph type="body" sz="quarter" idx="16"/>
          </p:nvPr>
        </p:nvSpPr>
        <p:spPr/>
        <p:txBody>
          <a:bodyPr>
            <a:normAutofit fontScale="85000" lnSpcReduction="20000"/>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US"/>
          </a:p>
        </p:txBody>
      </p:sp>
      <p:sp>
        <p:nvSpPr>
          <p:cNvPr id="3" name="Title 2">
            <a:extLst>
              <a:ext uri="{FF2B5EF4-FFF2-40B4-BE49-F238E27FC236}">
                <a16:creationId xmlns:a16="http://schemas.microsoft.com/office/drawing/2014/main" id="{A804C225-2C3C-7DE2-194C-F6A9A8B9DEE8}"/>
              </a:ext>
            </a:extLst>
          </p:cNvPr>
          <p:cNvSpPr>
            <a:spLocks noGrp="1"/>
          </p:cNvSpPr>
          <p:nvPr>
            <p:ph type="ctrTitle"/>
          </p:nvPr>
        </p:nvSpPr>
        <p:spPr>
          <a:xfrm>
            <a:off x="1501481" y="1780800"/>
            <a:ext cx="10008730" cy="2702968"/>
          </a:xfrm>
        </p:spPr>
        <p:txBody>
          <a:bodyPr/>
          <a:lstStyle/>
          <a:p>
            <a:pPr>
              <a:lnSpc>
                <a:spcPts val="4400"/>
              </a:lnSpc>
              <a:spcBef>
                <a:spcPts val="0"/>
              </a:spcBef>
            </a:pPr>
            <a:r>
              <a:rPr lang="en-US" sz="3200"/>
              <a:t>Code structure:</a:t>
            </a:r>
            <a:br>
              <a:rPr lang="en-US"/>
            </a:br>
            <a:r>
              <a:rPr lang="en-US" sz="5400"/>
              <a:t>From OOP to Design Pattern</a:t>
            </a:r>
            <a:br>
              <a:rPr lang="en-US" sz="5400"/>
            </a:br>
            <a:r>
              <a:rPr lang="en-US" sz="4000"/>
              <a:t>and</a:t>
            </a:r>
            <a:br>
              <a:rPr lang="en-US" sz="5400"/>
            </a:br>
            <a:r>
              <a:rPr lang="en-US" sz="5400"/>
              <a:t>MVC Pattern</a:t>
            </a:r>
            <a:endParaRPr lang="vi-VN" sz="5400"/>
          </a:p>
        </p:txBody>
      </p:sp>
      <p:sp>
        <p:nvSpPr>
          <p:cNvPr id="7" name="Text Placeholder 10">
            <a:extLst>
              <a:ext uri="{FF2B5EF4-FFF2-40B4-BE49-F238E27FC236}">
                <a16:creationId xmlns:a16="http://schemas.microsoft.com/office/drawing/2014/main" id="{591CAA3B-B14D-9F4D-D10E-E506073E29B3}"/>
              </a:ext>
            </a:extLst>
          </p:cNvPr>
          <p:cNvSpPr txBox="1">
            <a:spLocks/>
          </p:cNvSpPr>
          <p:nvPr/>
        </p:nvSpPr>
        <p:spPr>
          <a:xfrm>
            <a:off x="1575768" y="4459768"/>
            <a:ext cx="172800" cy="24000"/>
          </a:xfrm>
          <a:prstGeom prst="rect">
            <a:avLst/>
          </a:prstGeom>
          <a:solidFill>
            <a:srgbClr val="E46053"/>
          </a:solidFill>
        </p:spPr>
        <p:txBody>
          <a:bodyPr bIns="7200">
            <a:normAutofit fontScale="25000" lnSpcReduction="20000"/>
          </a:bodyPr>
          <a:lstStyle>
            <a:lvl1pPr marL="0" indent="0" algn="l" defTabSz="685800" rtl="0" eaLnBrk="1" latinLnBrk="0" hangingPunct="1">
              <a:lnSpc>
                <a:spcPct val="100000"/>
              </a:lnSpc>
              <a:spcBef>
                <a:spcPts val="750"/>
              </a:spcBef>
              <a:buClr>
                <a:schemeClr val="tx1"/>
              </a:buClr>
              <a:buFontTx/>
              <a:buNone/>
              <a:defRPr sz="133" kern="1200">
                <a:solidFill>
                  <a:srgbClr val="FF0000"/>
                </a:solidFill>
                <a:latin typeface="+mn-lt"/>
                <a:ea typeface="+mn-ea"/>
                <a:cs typeface="+mn-cs"/>
              </a:defRPr>
            </a:lvl1pPr>
            <a:lvl2pPr marL="447675" indent="-134938" algn="l" defTabSz="685800" rtl="0" eaLnBrk="1" latinLnBrk="0" hangingPunct="1">
              <a:lnSpc>
                <a:spcPct val="100000"/>
              </a:lnSpc>
              <a:spcBef>
                <a:spcPts val="375"/>
              </a:spcBef>
              <a:buClr>
                <a:schemeClr val="tx1"/>
              </a:buClr>
              <a:buFont typeface="Arial" panose="020B0604020202020204" pitchFamily="34" charset="0"/>
              <a:buChar char="•"/>
              <a:tabLst/>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a:t>
            </a:r>
          </a:p>
        </p:txBody>
      </p:sp>
    </p:spTree>
    <p:extLst>
      <p:ext uri="{BB962C8B-B14F-4D97-AF65-F5344CB8AC3E}">
        <p14:creationId xmlns:p14="http://schemas.microsoft.com/office/powerpoint/2010/main" val="2964104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928F88-9869-406A-A386-D84EB71A8317}"/>
              </a:ext>
            </a:extLst>
          </p:cNvPr>
          <p:cNvSpPr>
            <a:spLocks noGrp="1"/>
          </p:cNvSpPr>
          <p:nvPr>
            <p:ph type="body" sz="quarter" idx="16"/>
          </p:nvPr>
        </p:nvSpPr>
        <p:spPr>
          <a:xfrm>
            <a:off x="719667" y="1403231"/>
            <a:ext cx="5103284" cy="4762620"/>
          </a:xfrm>
        </p:spPr>
        <p:txBody>
          <a:bodyPr anchor="t">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800"/>
              <a:t>Well-organized project</a:t>
            </a:r>
          </a:p>
          <a:p>
            <a:pPr marL="285750" indent="-285750">
              <a:buFont typeface="Arial" panose="020B0604020202020204" pitchFamily="34" charset="0"/>
              <a:buChar char="•"/>
            </a:pPr>
            <a:r>
              <a:rPr lang="en-US" sz="2800"/>
              <a:t>Easier to locate the issue</a:t>
            </a:r>
          </a:p>
          <a:p>
            <a:pPr marL="285750" indent="-285750">
              <a:buFont typeface="Arial" panose="020B0604020202020204" pitchFamily="34" charset="0"/>
              <a:buChar char="•"/>
            </a:pPr>
            <a:r>
              <a:rPr lang="en-US" sz="2800"/>
              <a:t>Easier to find and re-use a logic</a:t>
            </a:r>
          </a:p>
          <a:p>
            <a:pPr marL="285750" indent="-285750">
              <a:buFont typeface="Arial" panose="020B0604020202020204" pitchFamily="34" charset="0"/>
              <a:buChar char="•"/>
            </a:pPr>
            <a:r>
              <a:rPr lang="en-US" sz="2800"/>
              <a:t>Loosing the coupling and increase cohesion</a:t>
            </a:r>
          </a:p>
          <a:p>
            <a:pPr marL="285750" indent="-285750">
              <a:buFont typeface="Arial" panose="020B0604020202020204" pitchFamily="34" charset="0"/>
              <a:buChar char="•"/>
            </a:pPr>
            <a:r>
              <a:rPr lang="en-US" sz="2800">
                <a:solidFill>
                  <a:srgbClr val="FF0000"/>
                </a:solidFill>
              </a:rPr>
              <a:t>Increase the complexity</a:t>
            </a:r>
          </a:p>
        </p:txBody>
      </p:sp>
      <p:sp>
        <p:nvSpPr>
          <p:cNvPr id="2" name="Title 1">
            <a:extLst>
              <a:ext uri="{FF2B5EF4-FFF2-40B4-BE49-F238E27FC236}">
                <a16:creationId xmlns:a16="http://schemas.microsoft.com/office/drawing/2014/main" id="{4F4E61E0-F34E-4203-90A7-F5F0FE00AD5A}"/>
              </a:ext>
            </a:extLst>
          </p:cNvPr>
          <p:cNvSpPr>
            <a:spLocks noGrp="1"/>
          </p:cNvSpPr>
          <p:nvPr>
            <p:ph type="title"/>
          </p:nvPr>
        </p:nvSpPr>
        <p:spPr>
          <a:xfrm>
            <a:off x="711533" y="621103"/>
            <a:ext cx="5111419" cy="452408"/>
          </a:xfrm>
        </p:spPr>
        <p:txBody>
          <a:bodyPr anchor="b">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2267"/>
              <a:t>OOP Recap</a:t>
            </a:r>
            <a:endParaRPr lang="en-US" sz="2267"/>
          </a:p>
        </p:txBody>
      </p:sp>
      <p:pic>
        <p:nvPicPr>
          <p:cNvPr id="8" name="Content Placeholder 7">
            <a:extLst>
              <a:ext uri="{FF2B5EF4-FFF2-40B4-BE49-F238E27FC236}">
                <a16:creationId xmlns:a16="http://schemas.microsoft.com/office/drawing/2014/main" id="{7374BEB9-5DBE-E30B-7552-0165EF064528}"/>
              </a:ext>
            </a:extLst>
          </p:cNvPr>
          <p:cNvPicPr>
            <a:picLocks noGrp="1" noChangeAspect="1"/>
          </p:cNvPicPr>
          <p:nvPr>
            <p:ph idx="13"/>
          </p:nvPr>
        </p:nvPicPr>
        <p:blipFill>
          <a:blip r:embed="rId4">
            <a:extLst>
              <a:ext uri="{28A0092B-C50C-407E-A947-70E740481C1C}">
                <a14:useLocalDpi xmlns:a14="http://schemas.microsoft.com/office/drawing/2010/main" val="0"/>
              </a:ext>
            </a:extLst>
          </a:blip>
          <a:stretch>
            <a:fillRect/>
          </a:stretch>
        </p:blipFill>
        <p:spPr>
          <a:xfrm>
            <a:off x="5822951" y="440907"/>
            <a:ext cx="6369049" cy="5457256"/>
          </a:xfrm>
        </p:spPr>
      </p:pic>
    </p:spTree>
    <p:custDataLst>
      <p:tags r:id="rId1"/>
    </p:custDataLst>
    <p:extLst>
      <p:ext uri="{BB962C8B-B14F-4D97-AF65-F5344CB8AC3E}">
        <p14:creationId xmlns:p14="http://schemas.microsoft.com/office/powerpoint/2010/main" val="41460120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E61E0-F34E-4203-90A7-F5F0FE00AD5A}"/>
              </a:ext>
            </a:extLst>
          </p:cNvPr>
          <p:cNvSpPr>
            <a:spLocks noGrp="1"/>
          </p:cNvSpPr>
          <p:nvPr>
            <p:ph type="title"/>
          </p:nvPr>
        </p:nvSpPr>
        <p:spPr/>
        <p:txBody>
          <a:bodyPr anchor="b">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2267"/>
              <a:t>OOP Recap</a:t>
            </a:r>
            <a:endParaRPr lang="en-US" sz="2267"/>
          </a:p>
        </p:txBody>
      </p:sp>
      <p:sp>
        <p:nvSpPr>
          <p:cNvPr id="3" name="Content Placeholder 2">
            <a:extLst>
              <a:ext uri="{FF2B5EF4-FFF2-40B4-BE49-F238E27FC236}">
                <a16:creationId xmlns:a16="http://schemas.microsoft.com/office/drawing/2014/main" id="{86928F88-9869-406A-A386-D84EB71A8317}"/>
              </a:ext>
            </a:extLst>
          </p:cNvPr>
          <p:cNvSpPr>
            <a:spLocks noGrp="1"/>
          </p:cNvSpPr>
          <p:nvPr>
            <p:ph type="body" sz="quarter" idx="12"/>
          </p:nvPr>
        </p:nvSpPr>
        <p:spPr/>
        <p:txBody>
          <a:bodyPr anchor="t">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indent="0">
              <a:buNone/>
            </a:pPr>
            <a:r>
              <a:rPr lang="en-US" sz="2800">
                <a:solidFill>
                  <a:srgbClr val="FF0000"/>
                </a:solidFill>
              </a:rPr>
              <a:t>Increase the complexity</a:t>
            </a:r>
          </a:p>
        </p:txBody>
      </p:sp>
      <p:sp>
        <p:nvSpPr>
          <p:cNvPr id="11" name="TextBox 10">
            <a:extLst>
              <a:ext uri="{FF2B5EF4-FFF2-40B4-BE49-F238E27FC236}">
                <a16:creationId xmlns:a16="http://schemas.microsoft.com/office/drawing/2014/main" id="{129FEBC0-1E72-5ADE-1000-E9C5A86619B8}"/>
              </a:ext>
            </a:extLst>
          </p:cNvPr>
          <p:cNvSpPr txBox="1"/>
          <p:nvPr/>
        </p:nvSpPr>
        <p:spPr>
          <a:xfrm>
            <a:off x="2382982" y="2798617"/>
            <a:ext cx="7850909" cy="1496987"/>
          </a:xfrm>
          <a:prstGeom prst="rect">
            <a:avLst/>
          </a:prstGeom>
          <a:noFill/>
        </p:spPr>
        <p:txBody>
          <a:bodyPr wrap="none" lIns="0" tIns="0" rIns="0" bIns="0" rtlCol="0">
            <a:noAutofit/>
          </a:bodyPr>
          <a:lstStyle/>
          <a:p>
            <a:pPr algn="l"/>
            <a:r>
              <a:rPr lang="en-US" sz="3200" b="1"/>
              <a:t>How can we maximize the benefit of OOP</a:t>
            </a:r>
          </a:p>
          <a:p>
            <a:pPr algn="l"/>
            <a:r>
              <a:rPr lang="en-US" sz="3200" b="1"/>
              <a:t>without over-complicated the code structure?</a:t>
            </a:r>
            <a:endParaRPr lang="vi-VN" sz="3200" b="1" err="1"/>
          </a:p>
        </p:txBody>
      </p:sp>
      <p:pic>
        <p:nvPicPr>
          <p:cNvPr id="14" name="Graphic 13" descr="Question mark with solid fill">
            <a:extLst>
              <a:ext uri="{FF2B5EF4-FFF2-40B4-BE49-F238E27FC236}">
                <a16:creationId xmlns:a16="http://schemas.microsoft.com/office/drawing/2014/main" id="{688998E3-5FDD-04E0-A298-B4E18EC1C8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54726" y="2770908"/>
            <a:ext cx="1039091" cy="1039091"/>
          </a:xfrm>
          <a:prstGeom prst="rect">
            <a:avLst/>
          </a:prstGeom>
        </p:spPr>
      </p:pic>
    </p:spTree>
    <p:custDataLst>
      <p:tags r:id="rId1"/>
    </p:custDataLst>
    <p:extLst>
      <p:ext uri="{BB962C8B-B14F-4D97-AF65-F5344CB8AC3E}">
        <p14:creationId xmlns:p14="http://schemas.microsoft.com/office/powerpoint/2010/main" val="1872183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602B82-5842-4C09-9CE0-FE65AF0814C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602B82-5842-4C09-9CE0-FE65AF0814C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57649-04B0-4766-9290-E5B6D0EB61FD}"/>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a:t>Agenda</a:t>
            </a:r>
          </a:p>
        </p:txBody>
      </p:sp>
      <p:sp>
        <p:nvSpPr>
          <p:cNvPr id="8" name="Pentagon 23">
            <a:extLst>
              <a:ext uri="{FF2B5EF4-FFF2-40B4-BE49-F238E27FC236}">
                <a16:creationId xmlns:a16="http://schemas.microsoft.com/office/drawing/2014/main" id="{598E6103-3DFF-4B87-B5C7-300316CB1814}"/>
              </a:ext>
            </a:extLst>
          </p:cNvPr>
          <p:cNvSpPr/>
          <p:nvPr/>
        </p:nvSpPr>
        <p:spPr>
          <a:xfrm>
            <a:off x="1145628" y="14003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a:t>
            </a:r>
          </a:p>
        </p:txBody>
      </p:sp>
      <p:sp>
        <p:nvSpPr>
          <p:cNvPr id="13" name="Oval 12">
            <a:extLst>
              <a:ext uri="{FF2B5EF4-FFF2-40B4-BE49-F238E27FC236}">
                <a16:creationId xmlns:a16="http://schemas.microsoft.com/office/drawing/2014/main" id="{9D57BE4A-5B6A-4752-A75D-1142E779029A}"/>
              </a:ext>
            </a:extLst>
          </p:cNvPr>
          <p:cNvSpPr/>
          <p:nvPr/>
        </p:nvSpPr>
        <p:spPr>
          <a:xfrm>
            <a:off x="839218" y="14049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4" name="Graphic 22">
            <a:extLst>
              <a:ext uri="{FF2B5EF4-FFF2-40B4-BE49-F238E27FC236}">
                <a16:creationId xmlns:a16="http://schemas.microsoft.com/office/drawing/2014/main" id="{2454E598-343F-41EB-AE9A-F24DF23669D2}"/>
              </a:ext>
            </a:extLst>
          </p:cNvPr>
          <p:cNvSpPr/>
          <p:nvPr/>
        </p:nvSpPr>
        <p:spPr>
          <a:xfrm>
            <a:off x="990718" y="1556438"/>
            <a:ext cx="320570" cy="320550"/>
          </a:xfrm>
          <a:custGeom>
            <a:avLst/>
            <a:gdLst>
              <a:gd name="connsiteX0" fmla="*/ 95278 w 438177"/>
              <a:gd name="connsiteY0" fmla="*/ 0 h 438150"/>
              <a:gd name="connsiteX1" fmla="*/ 47653 w 438177"/>
              <a:gd name="connsiteY1" fmla="*/ 47625 h 438150"/>
              <a:gd name="connsiteX2" fmla="*/ 95278 w 438177"/>
              <a:gd name="connsiteY2" fmla="*/ 95250 h 438150"/>
              <a:gd name="connsiteX3" fmla="*/ 142903 w 438177"/>
              <a:gd name="connsiteY3" fmla="*/ 47625 h 438150"/>
              <a:gd name="connsiteX4" fmla="*/ 95278 w 438177"/>
              <a:gd name="connsiteY4" fmla="*/ 0 h 438150"/>
              <a:gd name="connsiteX5" fmla="*/ 257203 w 438177"/>
              <a:gd name="connsiteY5" fmla="*/ 0 h 438150"/>
              <a:gd name="connsiteX6" fmla="*/ 257203 w 438177"/>
              <a:gd name="connsiteY6" fmla="*/ 19050 h 438150"/>
              <a:gd name="connsiteX7" fmla="*/ 161953 w 438177"/>
              <a:gd name="connsiteY7" fmla="*/ 19050 h 438150"/>
              <a:gd name="connsiteX8" fmla="*/ 161953 w 438177"/>
              <a:gd name="connsiteY8" fmla="*/ 38100 h 438150"/>
              <a:gd name="connsiteX9" fmla="*/ 419128 w 438177"/>
              <a:gd name="connsiteY9" fmla="*/ 38100 h 438150"/>
              <a:gd name="connsiteX10" fmla="*/ 419128 w 438177"/>
              <a:gd name="connsiteY10" fmla="*/ 285750 h 438150"/>
              <a:gd name="connsiteX11" fmla="*/ 171478 w 438177"/>
              <a:gd name="connsiteY11" fmla="*/ 285750 h 438150"/>
              <a:gd name="connsiteX12" fmla="*/ 171478 w 438177"/>
              <a:gd name="connsiteY12" fmla="*/ 304800 h 438150"/>
              <a:gd name="connsiteX13" fmla="*/ 252440 w 438177"/>
              <a:gd name="connsiteY13" fmla="*/ 304800 h 438150"/>
              <a:gd name="connsiteX14" fmla="*/ 200053 w 438177"/>
              <a:gd name="connsiteY14" fmla="*/ 409575 h 438150"/>
              <a:gd name="connsiteX15" fmla="*/ 219103 w 438177"/>
              <a:gd name="connsiteY15" fmla="*/ 409575 h 438150"/>
              <a:gd name="connsiteX16" fmla="*/ 266728 w 438177"/>
              <a:gd name="connsiteY16" fmla="*/ 314325 h 438150"/>
              <a:gd name="connsiteX17" fmla="*/ 314353 w 438177"/>
              <a:gd name="connsiteY17" fmla="*/ 409575 h 438150"/>
              <a:gd name="connsiteX18" fmla="*/ 333403 w 438177"/>
              <a:gd name="connsiteY18" fmla="*/ 409575 h 438150"/>
              <a:gd name="connsiteX19" fmla="*/ 281015 w 438177"/>
              <a:gd name="connsiteY19" fmla="*/ 304800 h 438150"/>
              <a:gd name="connsiteX20" fmla="*/ 428653 w 438177"/>
              <a:gd name="connsiteY20" fmla="*/ 304800 h 438150"/>
              <a:gd name="connsiteX21" fmla="*/ 438178 w 438177"/>
              <a:gd name="connsiteY21" fmla="*/ 295275 h 438150"/>
              <a:gd name="connsiteX22" fmla="*/ 438178 w 438177"/>
              <a:gd name="connsiteY22" fmla="*/ 28575 h 438150"/>
              <a:gd name="connsiteX23" fmla="*/ 428653 w 438177"/>
              <a:gd name="connsiteY23" fmla="*/ 19050 h 438150"/>
              <a:gd name="connsiteX24" fmla="*/ 276253 w 438177"/>
              <a:gd name="connsiteY24" fmla="*/ 19050 h 438150"/>
              <a:gd name="connsiteX25" fmla="*/ 276253 w 438177"/>
              <a:gd name="connsiteY25" fmla="*/ 0 h 438150"/>
              <a:gd name="connsiteX26" fmla="*/ 95278 w 438177"/>
              <a:gd name="connsiteY26" fmla="*/ 19050 h 438150"/>
              <a:gd name="connsiteX27" fmla="*/ 123853 w 438177"/>
              <a:gd name="connsiteY27" fmla="*/ 47625 h 438150"/>
              <a:gd name="connsiteX28" fmla="*/ 95278 w 438177"/>
              <a:gd name="connsiteY28" fmla="*/ 76200 h 438150"/>
              <a:gd name="connsiteX29" fmla="*/ 66703 w 438177"/>
              <a:gd name="connsiteY29" fmla="*/ 47625 h 438150"/>
              <a:gd name="connsiteX30" fmla="*/ 95278 w 438177"/>
              <a:gd name="connsiteY30" fmla="*/ 19050 h 438150"/>
              <a:gd name="connsiteX31" fmla="*/ 52415 w 438177"/>
              <a:gd name="connsiteY31" fmla="*/ 104775 h 438150"/>
              <a:gd name="connsiteX32" fmla="*/ 28 w 438177"/>
              <a:gd name="connsiteY32" fmla="*/ 157163 h 438150"/>
              <a:gd name="connsiteX33" fmla="*/ 28 w 438177"/>
              <a:gd name="connsiteY33" fmla="*/ 274439 h 438150"/>
              <a:gd name="connsiteX34" fmla="*/ 28 w 438177"/>
              <a:gd name="connsiteY34" fmla="*/ 275630 h 438150"/>
              <a:gd name="connsiteX35" fmla="*/ 28 w 438177"/>
              <a:gd name="connsiteY35" fmla="*/ 276225 h 438150"/>
              <a:gd name="connsiteX36" fmla="*/ 326 w 438177"/>
              <a:gd name="connsiteY36" fmla="*/ 278904 h 438150"/>
              <a:gd name="connsiteX37" fmla="*/ 28603 w 438177"/>
              <a:gd name="connsiteY37" fmla="*/ 304800 h 438150"/>
              <a:gd name="connsiteX38" fmla="*/ 38128 w 438177"/>
              <a:gd name="connsiteY38" fmla="*/ 303014 h 438150"/>
              <a:gd name="connsiteX39" fmla="*/ 38128 w 438177"/>
              <a:gd name="connsiteY39" fmla="*/ 404813 h 438150"/>
              <a:gd name="connsiteX40" fmla="*/ 71465 w 438177"/>
              <a:gd name="connsiteY40" fmla="*/ 438150 h 438150"/>
              <a:gd name="connsiteX41" fmla="*/ 95278 w 438177"/>
              <a:gd name="connsiteY41" fmla="*/ 428030 h 438150"/>
              <a:gd name="connsiteX42" fmla="*/ 119090 w 438177"/>
              <a:gd name="connsiteY42" fmla="*/ 438150 h 438150"/>
              <a:gd name="connsiteX43" fmla="*/ 152428 w 438177"/>
              <a:gd name="connsiteY43" fmla="*/ 404813 h 438150"/>
              <a:gd name="connsiteX44" fmla="*/ 152428 w 438177"/>
              <a:gd name="connsiteY44" fmla="*/ 161925 h 438150"/>
              <a:gd name="connsiteX45" fmla="*/ 257203 w 438177"/>
              <a:gd name="connsiteY45" fmla="*/ 161925 h 438150"/>
              <a:gd name="connsiteX46" fmla="*/ 285778 w 438177"/>
              <a:gd name="connsiteY46" fmla="*/ 133350 h 438150"/>
              <a:gd name="connsiteX47" fmla="*/ 257798 w 438177"/>
              <a:gd name="connsiteY47" fmla="*/ 104775 h 438150"/>
              <a:gd name="connsiteX48" fmla="*/ 257203 w 438177"/>
              <a:gd name="connsiteY48" fmla="*/ 104775 h 438150"/>
              <a:gd name="connsiteX49" fmla="*/ 123853 w 438177"/>
              <a:gd name="connsiteY49" fmla="*/ 104775 h 438150"/>
              <a:gd name="connsiteX50" fmla="*/ 115221 w 438177"/>
              <a:gd name="connsiteY50" fmla="*/ 110133 h 438150"/>
              <a:gd name="connsiteX51" fmla="*/ 95278 w 438177"/>
              <a:gd name="connsiteY51" fmla="*/ 150019 h 438150"/>
              <a:gd name="connsiteX52" fmla="*/ 75335 w 438177"/>
              <a:gd name="connsiteY52" fmla="*/ 110133 h 438150"/>
              <a:gd name="connsiteX53" fmla="*/ 66703 w 438177"/>
              <a:gd name="connsiteY53" fmla="*/ 104775 h 438150"/>
              <a:gd name="connsiteX54" fmla="*/ 52415 w 438177"/>
              <a:gd name="connsiteY54" fmla="*/ 123825 h 438150"/>
              <a:gd name="connsiteX55" fmla="*/ 60750 w 438177"/>
              <a:gd name="connsiteY55" fmla="*/ 123825 h 438150"/>
              <a:gd name="connsiteX56" fmla="*/ 86646 w 438177"/>
              <a:gd name="connsiteY56" fmla="*/ 175617 h 438150"/>
              <a:gd name="connsiteX57" fmla="*/ 95278 w 438177"/>
              <a:gd name="connsiteY57" fmla="*/ 181124 h 438150"/>
              <a:gd name="connsiteX58" fmla="*/ 103910 w 438177"/>
              <a:gd name="connsiteY58" fmla="*/ 175617 h 438150"/>
              <a:gd name="connsiteX59" fmla="*/ 129806 w 438177"/>
              <a:gd name="connsiteY59" fmla="*/ 123825 h 438150"/>
              <a:gd name="connsiteX60" fmla="*/ 257203 w 438177"/>
              <a:gd name="connsiteY60" fmla="*/ 123825 h 438150"/>
              <a:gd name="connsiteX61" fmla="*/ 258096 w 438177"/>
              <a:gd name="connsiteY61" fmla="*/ 123825 h 438150"/>
              <a:gd name="connsiteX62" fmla="*/ 266728 w 438177"/>
              <a:gd name="connsiteY62" fmla="*/ 133350 h 438150"/>
              <a:gd name="connsiteX63" fmla="*/ 257203 w 438177"/>
              <a:gd name="connsiteY63" fmla="*/ 142875 h 438150"/>
              <a:gd name="connsiteX64" fmla="*/ 142903 w 438177"/>
              <a:gd name="connsiteY64" fmla="*/ 142875 h 438150"/>
              <a:gd name="connsiteX65" fmla="*/ 133378 w 438177"/>
              <a:gd name="connsiteY65" fmla="*/ 152400 h 438150"/>
              <a:gd name="connsiteX66" fmla="*/ 133378 w 438177"/>
              <a:gd name="connsiteY66" fmla="*/ 404813 h 438150"/>
              <a:gd name="connsiteX67" fmla="*/ 119090 w 438177"/>
              <a:gd name="connsiteY67" fmla="*/ 419100 h 438150"/>
              <a:gd name="connsiteX68" fmla="*/ 104803 w 438177"/>
              <a:gd name="connsiteY68" fmla="*/ 406301 h 438150"/>
              <a:gd name="connsiteX69" fmla="*/ 104803 w 438177"/>
              <a:gd name="connsiteY69" fmla="*/ 403920 h 438150"/>
              <a:gd name="connsiteX70" fmla="*/ 104803 w 438177"/>
              <a:gd name="connsiteY70" fmla="*/ 403027 h 438150"/>
              <a:gd name="connsiteX71" fmla="*/ 104803 w 438177"/>
              <a:gd name="connsiteY71" fmla="*/ 304800 h 438150"/>
              <a:gd name="connsiteX72" fmla="*/ 101826 w 438177"/>
              <a:gd name="connsiteY72" fmla="*/ 297545 h 438150"/>
              <a:gd name="connsiteX73" fmla="*/ 94385 w 438177"/>
              <a:gd name="connsiteY73" fmla="*/ 294977 h 438150"/>
              <a:gd name="connsiteX74" fmla="*/ 93194 w 438177"/>
              <a:gd name="connsiteY74" fmla="*/ 295275 h 438150"/>
              <a:gd name="connsiteX75" fmla="*/ 85753 w 438177"/>
              <a:gd name="connsiteY75" fmla="*/ 304800 h 438150"/>
              <a:gd name="connsiteX76" fmla="*/ 85753 w 438177"/>
              <a:gd name="connsiteY76" fmla="*/ 403027 h 438150"/>
              <a:gd name="connsiteX77" fmla="*/ 85753 w 438177"/>
              <a:gd name="connsiteY77" fmla="*/ 404217 h 438150"/>
              <a:gd name="connsiteX78" fmla="*/ 85753 w 438177"/>
              <a:gd name="connsiteY78" fmla="*/ 406301 h 438150"/>
              <a:gd name="connsiteX79" fmla="*/ 71465 w 438177"/>
              <a:gd name="connsiteY79" fmla="*/ 419100 h 438150"/>
              <a:gd name="connsiteX80" fmla="*/ 57178 w 438177"/>
              <a:gd name="connsiteY80" fmla="*/ 404813 h 438150"/>
              <a:gd name="connsiteX81" fmla="*/ 57178 w 438177"/>
              <a:gd name="connsiteY81" fmla="*/ 180975 h 438150"/>
              <a:gd name="connsiteX82" fmla="*/ 53680 w 438177"/>
              <a:gd name="connsiteY82" fmla="*/ 173385 h 438150"/>
              <a:gd name="connsiteX83" fmla="*/ 45569 w 438177"/>
              <a:gd name="connsiteY83" fmla="*/ 171450 h 438150"/>
              <a:gd name="connsiteX84" fmla="*/ 38128 w 438177"/>
              <a:gd name="connsiteY84" fmla="*/ 180975 h 438150"/>
              <a:gd name="connsiteX85" fmla="*/ 38128 w 438177"/>
              <a:gd name="connsiteY85" fmla="*/ 274737 h 438150"/>
              <a:gd name="connsiteX86" fmla="*/ 38128 w 438177"/>
              <a:gd name="connsiteY86" fmla="*/ 275630 h 438150"/>
              <a:gd name="connsiteX87" fmla="*/ 38128 w 438177"/>
              <a:gd name="connsiteY87" fmla="*/ 276225 h 438150"/>
              <a:gd name="connsiteX88" fmla="*/ 28603 w 438177"/>
              <a:gd name="connsiteY88" fmla="*/ 285750 h 438150"/>
              <a:gd name="connsiteX89" fmla="*/ 19078 w 438177"/>
              <a:gd name="connsiteY89" fmla="*/ 276820 h 438150"/>
              <a:gd name="connsiteX90" fmla="*/ 19078 w 438177"/>
              <a:gd name="connsiteY90" fmla="*/ 276225 h 438150"/>
              <a:gd name="connsiteX91" fmla="*/ 19078 w 438177"/>
              <a:gd name="connsiteY91" fmla="*/ 274439 h 438150"/>
              <a:gd name="connsiteX92" fmla="*/ 19078 w 438177"/>
              <a:gd name="connsiteY92" fmla="*/ 157163 h 438150"/>
              <a:gd name="connsiteX93" fmla="*/ 52415 w 438177"/>
              <a:gd name="connsiteY93" fmla="*/ 1238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8177" h="438150">
                <a:moveTo>
                  <a:pt x="95278" y="0"/>
                </a:moveTo>
                <a:cubicBezTo>
                  <a:pt x="69084" y="0"/>
                  <a:pt x="47653" y="21431"/>
                  <a:pt x="47653" y="47625"/>
                </a:cubicBezTo>
                <a:cubicBezTo>
                  <a:pt x="47653" y="73819"/>
                  <a:pt x="69084" y="95250"/>
                  <a:pt x="95278" y="95250"/>
                </a:cubicBezTo>
                <a:cubicBezTo>
                  <a:pt x="121472" y="95250"/>
                  <a:pt x="142903" y="73819"/>
                  <a:pt x="142903" y="47625"/>
                </a:cubicBezTo>
                <a:cubicBezTo>
                  <a:pt x="142903" y="21431"/>
                  <a:pt x="121472" y="0"/>
                  <a:pt x="95278" y="0"/>
                </a:cubicBezTo>
                <a:close/>
                <a:moveTo>
                  <a:pt x="257203" y="0"/>
                </a:moveTo>
                <a:lnTo>
                  <a:pt x="257203" y="19050"/>
                </a:lnTo>
                <a:lnTo>
                  <a:pt x="161953" y="19050"/>
                </a:lnTo>
                <a:lnTo>
                  <a:pt x="161953" y="38100"/>
                </a:lnTo>
                <a:lnTo>
                  <a:pt x="419128" y="38100"/>
                </a:lnTo>
                <a:lnTo>
                  <a:pt x="419128" y="285750"/>
                </a:lnTo>
                <a:lnTo>
                  <a:pt x="171478" y="285750"/>
                </a:lnTo>
                <a:lnTo>
                  <a:pt x="171478" y="304800"/>
                </a:lnTo>
                <a:lnTo>
                  <a:pt x="252440" y="304800"/>
                </a:lnTo>
                <a:lnTo>
                  <a:pt x="200053" y="409575"/>
                </a:lnTo>
                <a:lnTo>
                  <a:pt x="219103" y="409575"/>
                </a:lnTo>
                <a:lnTo>
                  <a:pt x="266728" y="314325"/>
                </a:lnTo>
                <a:lnTo>
                  <a:pt x="314353" y="409575"/>
                </a:lnTo>
                <a:lnTo>
                  <a:pt x="333403" y="409575"/>
                </a:lnTo>
                <a:lnTo>
                  <a:pt x="281015" y="304800"/>
                </a:lnTo>
                <a:lnTo>
                  <a:pt x="428653" y="304800"/>
                </a:lnTo>
                <a:cubicBezTo>
                  <a:pt x="433899" y="304800"/>
                  <a:pt x="438178" y="300521"/>
                  <a:pt x="438178" y="295275"/>
                </a:cubicBezTo>
                <a:lnTo>
                  <a:pt x="438178" y="28575"/>
                </a:lnTo>
                <a:cubicBezTo>
                  <a:pt x="438178" y="23329"/>
                  <a:pt x="433899" y="19050"/>
                  <a:pt x="428653" y="19050"/>
                </a:cubicBezTo>
                <a:lnTo>
                  <a:pt x="276253" y="19050"/>
                </a:lnTo>
                <a:lnTo>
                  <a:pt x="276253" y="0"/>
                </a:lnTo>
                <a:close/>
                <a:moveTo>
                  <a:pt x="95278" y="19050"/>
                </a:moveTo>
                <a:cubicBezTo>
                  <a:pt x="111165" y="19050"/>
                  <a:pt x="123853" y="31738"/>
                  <a:pt x="123853" y="47625"/>
                </a:cubicBezTo>
                <a:cubicBezTo>
                  <a:pt x="123853" y="63512"/>
                  <a:pt x="111165" y="76200"/>
                  <a:pt x="95278" y="76200"/>
                </a:cubicBezTo>
                <a:cubicBezTo>
                  <a:pt x="79391" y="76200"/>
                  <a:pt x="66703" y="63512"/>
                  <a:pt x="66703" y="47625"/>
                </a:cubicBezTo>
                <a:cubicBezTo>
                  <a:pt x="66703" y="31738"/>
                  <a:pt x="79391" y="19050"/>
                  <a:pt x="95278" y="19050"/>
                </a:cubicBezTo>
                <a:close/>
                <a:moveTo>
                  <a:pt x="52415" y="104775"/>
                </a:moveTo>
                <a:cubicBezTo>
                  <a:pt x="23580" y="104775"/>
                  <a:pt x="28" y="128327"/>
                  <a:pt x="28" y="157163"/>
                </a:cubicBezTo>
                <a:lnTo>
                  <a:pt x="28" y="274439"/>
                </a:lnTo>
                <a:cubicBezTo>
                  <a:pt x="-9" y="274848"/>
                  <a:pt x="-9" y="275220"/>
                  <a:pt x="28" y="275630"/>
                </a:cubicBezTo>
                <a:lnTo>
                  <a:pt x="28" y="276225"/>
                </a:lnTo>
                <a:cubicBezTo>
                  <a:pt x="-9" y="277118"/>
                  <a:pt x="102" y="278048"/>
                  <a:pt x="326" y="278904"/>
                </a:cubicBezTo>
                <a:cubicBezTo>
                  <a:pt x="1739" y="293303"/>
                  <a:pt x="13869" y="304800"/>
                  <a:pt x="28603" y="304800"/>
                </a:cubicBezTo>
                <a:cubicBezTo>
                  <a:pt x="31952" y="304800"/>
                  <a:pt x="35114" y="304093"/>
                  <a:pt x="38128" y="303014"/>
                </a:cubicBezTo>
                <a:lnTo>
                  <a:pt x="38128" y="404813"/>
                </a:lnTo>
                <a:cubicBezTo>
                  <a:pt x="38128" y="423118"/>
                  <a:pt x="53160" y="438150"/>
                  <a:pt x="71465" y="438150"/>
                </a:cubicBezTo>
                <a:cubicBezTo>
                  <a:pt x="80767" y="438150"/>
                  <a:pt x="89213" y="434243"/>
                  <a:pt x="95278" y="428030"/>
                </a:cubicBezTo>
                <a:cubicBezTo>
                  <a:pt x="101343" y="434243"/>
                  <a:pt x="109789" y="438150"/>
                  <a:pt x="119090" y="438150"/>
                </a:cubicBezTo>
                <a:cubicBezTo>
                  <a:pt x="137396" y="438150"/>
                  <a:pt x="152428" y="423118"/>
                  <a:pt x="152428" y="404813"/>
                </a:cubicBezTo>
                <a:lnTo>
                  <a:pt x="152428" y="161925"/>
                </a:lnTo>
                <a:lnTo>
                  <a:pt x="257203" y="161925"/>
                </a:lnTo>
                <a:cubicBezTo>
                  <a:pt x="272867" y="161925"/>
                  <a:pt x="285778" y="149014"/>
                  <a:pt x="285778" y="133350"/>
                </a:cubicBezTo>
                <a:cubicBezTo>
                  <a:pt x="285778" y="117872"/>
                  <a:pt x="273202" y="105110"/>
                  <a:pt x="257798" y="104775"/>
                </a:cubicBezTo>
                <a:cubicBezTo>
                  <a:pt x="257612" y="104775"/>
                  <a:pt x="257389" y="104775"/>
                  <a:pt x="257203" y="104775"/>
                </a:cubicBezTo>
                <a:lnTo>
                  <a:pt x="123853" y="104775"/>
                </a:lnTo>
                <a:cubicBezTo>
                  <a:pt x="120169" y="104738"/>
                  <a:pt x="116821" y="106821"/>
                  <a:pt x="115221" y="110133"/>
                </a:cubicBezTo>
                <a:lnTo>
                  <a:pt x="95278" y="150019"/>
                </a:lnTo>
                <a:lnTo>
                  <a:pt x="75335" y="110133"/>
                </a:lnTo>
                <a:cubicBezTo>
                  <a:pt x="73735" y="106821"/>
                  <a:pt x="70386" y="104738"/>
                  <a:pt x="66703" y="104775"/>
                </a:cubicBezTo>
                <a:close/>
                <a:moveTo>
                  <a:pt x="52415" y="123825"/>
                </a:moveTo>
                <a:lnTo>
                  <a:pt x="60750" y="123825"/>
                </a:lnTo>
                <a:lnTo>
                  <a:pt x="86646" y="175617"/>
                </a:lnTo>
                <a:cubicBezTo>
                  <a:pt x="88209" y="178966"/>
                  <a:pt x="91594" y="181124"/>
                  <a:pt x="95278" y="181124"/>
                </a:cubicBezTo>
                <a:cubicBezTo>
                  <a:pt x="98961" y="181124"/>
                  <a:pt x="102347" y="178966"/>
                  <a:pt x="103910" y="175617"/>
                </a:cubicBezTo>
                <a:lnTo>
                  <a:pt x="129806" y="123825"/>
                </a:lnTo>
                <a:lnTo>
                  <a:pt x="257203" y="123825"/>
                </a:lnTo>
                <a:cubicBezTo>
                  <a:pt x="257501" y="123825"/>
                  <a:pt x="257798" y="123825"/>
                  <a:pt x="258096" y="123825"/>
                </a:cubicBezTo>
                <a:cubicBezTo>
                  <a:pt x="263044" y="124271"/>
                  <a:pt x="266728" y="128290"/>
                  <a:pt x="266728" y="133350"/>
                </a:cubicBezTo>
                <a:cubicBezTo>
                  <a:pt x="266728" y="138745"/>
                  <a:pt x="262598" y="142875"/>
                  <a:pt x="257203" y="142875"/>
                </a:cubicBezTo>
                <a:lnTo>
                  <a:pt x="142903" y="142875"/>
                </a:lnTo>
                <a:cubicBezTo>
                  <a:pt x="137657" y="142875"/>
                  <a:pt x="133378" y="147154"/>
                  <a:pt x="133378" y="152400"/>
                </a:cubicBezTo>
                <a:lnTo>
                  <a:pt x="133378" y="404813"/>
                </a:lnTo>
                <a:cubicBezTo>
                  <a:pt x="133378" y="412812"/>
                  <a:pt x="127090" y="419100"/>
                  <a:pt x="119090" y="419100"/>
                </a:cubicBezTo>
                <a:cubicBezTo>
                  <a:pt x="111575" y="419100"/>
                  <a:pt x="105510" y="413593"/>
                  <a:pt x="104803" y="406301"/>
                </a:cubicBezTo>
                <a:lnTo>
                  <a:pt x="104803" y="403920"/>
                </a:lnTo>
                <a:cubicBezTo>
                  <a:pt x="104803" y="403622"/>
                  <a:pt x="104803" y="403324"/>
                  <a:pt x="104803" y="403027"/>
                </a:cubicBezTo>
                <a:lnTo>
                  <a:pt x="104803" y="304800"/>
                </a:lnTo>
                <a:cubicBezTo>
                  <a:pt x="104915" y="302047"/>
                  <a:pt x="103798" y="299405"/>
                  <a:pt x="101826" y="297545"/>
                </a:cubicBezTo>
                <a:cubicBezTo>
                  <a:pt x="99817" y="295647"/>
                  <a:pt x="97101" y="294717"/>
                  <a:pt x="94385" y="294977"/>
                </a:cubicBezTo>
                <a:cubicBezTo>
                  <a:pt x="93976" y="295052"/>
                  <a:pt x="93566" y="295163"/>
                  <a:pt x="93194" y="295275"/>
                </a:cubicBezTo>
                <a:cubicBezTo>
                  <a:pt x="88767" y="296280"/>
                  <a:pt x="85641" y="300261"/>
                  <a:pt x="85753" y="304800"/>
                </a:cubicBezTo>
                <a:lnTo>
                  <a:pt x="85753" y="403027"/>
                </a:lnTo>
                <a:cubicBezTo>
                  <a:pt x="85716" y="403436"/>
                  <a:pt x="85716" y="403808"/>
                  <a:pt x="85753" y="404217"/>
                </a:cubicBezTo>
                <a:lnTo>
                  <a:pt x="85753" y="406301"/>
                </a:lnTo>
                <a:cubicBezTo>
                  <a:pt x="85046" y="413593"/>
                  <a:pt x="78981" y="419100"/>
                  <a:pt x="71465" y="419100"/>
                </a:cubicBezTo>
                <a:cubicBezTo>
                  <a:pt x="63466" y="419100"/>
                  <a:pt x="57178" y="412812"/>
                  <a:pt x="57178" y="404813"/>
                </a:cubicBezTo>
                <a:lnTo>
                  <a:pt x="57178" y="180975"/>
                </a:lnTo>
                <a:cubicBezTo>
                  <a:pt x="57252" y="178036"/>
                  <a:pt x="55950" y="175245"/>
                  <a:pt x="53680" y="173385"/>
                </a:cubicBezTo>
                <a:cubicBezTo>
                  <a:pt x="51448" y="171524"/>
                  <a:pt x="48434" y="170817"/>
                  <a:pt x="45569" y="171450"/>
                </a:cubicBezTo>
                <a:cubicBezTo>
                  <a:pt x="41142" y="172455"/>
                  <a:pt x="38016" y="176436"/>
                  <a:pt x="38128" y="180975"/>
                </a:cubicBezTo>
                <a:lnTo>
                  <a:pt x="38128" y="274737"/>
                </a:lnTo>
                <a:cubicBezTo>
                  <a:pt x="38128" y="275034"/>
                  <a:pt x="38128" y="275332"/>
                  <a:pt x="38128" y="275630"/>
                </a:cubicBezTo>
                <a:lnTo>
                  <a:pt x="38128" y="276225"/>
                </a:lnTo>
                <a:cubicBezTo>
                  <a:pt x="38128" y="281620"/>
                  <a:pt x="33998" y="285750"/>
                  <a:pt x="28603" y="285750"/>
                </a:cubicBezTo>
                <a:cubicBezTo>
                  <a:pt x="23431" y="285750"/>
                  <a:pt x="19376" y="281918"/>
                  <a:pt x="19078" y="276820"/>
                </a:cubicBezTo>
                <a:cubicBezTo>
                  <a:pt x="19078" y="276634"/>
                  <a:pt x="19078" y="276411"/>
                  <a:pt x="19078" y="276225"/>
                </a:cubicBezTo>
                <a:cubicBezTo>
                  <a:pt x="19152" y="275630"/>
                  <a:pt x="19152" y="275034"/>
                  <a:pt x="19078" y="274439"/>
                </a:cubicBezTo>
                <a:lnTo>
                  <a:pt x="19078" y="157163"/>
                </a:lnTo>
                <a:cubicBezTo>
                  <a:pt x="19078" y="138633"/>
                  <a:pt x="33886" y="123825"/>
                  <a:pt x="52415" y="123825"/>
                </a:cubicBezTo>
                <a:close/>
              </a:path>
            </a:pathLst>
          </a:custGeom>
          <a:solidFill>
            <a:schemeClr val="bg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133"/>
          </a:p>
        </p:txBody>
      </p:sp>
      <p:sp>
        <p:nvSpPr>
          <p:cNvPr id="55" name="Pentagon 23">
            <a:extLst>
              <a:ext uri="{FF2B5EF4-FFF2-40B4-BE49-F238E27FC236}">
                <a16:creationId xmlns:a16="http://schemas.microsoft.com/office/drawing/2014/main" id="{6F4F90CC-D6D0-478E-A1B4-7C73E42248DB}"/>
              </a:ext>
            </a:extLst>
          </p:cNvPr>
          <p:cNvSpPr/>
          <p:nvPr/>
        </p:nvSpPr>
        <p:spPr>
          <a:xfrm>
            <a:off x="1145628" y="218858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ysClr val="windowText" lastClr="000000"/>
                </a:solidFill>
                <a:cs typeface="Arial" panose="020B0604020202020204" pitchFamily="34" charset="0"/>
              </a:rPr>
              <a:t>OOP recap</a:t>
            </a:r>
          </a:p>
        </p:txBody>
      </p:sp>
      <p:sp>
        <p:nvSpPr>
          <p:cNvPr id="57" name="Oval 56">
            <a:extLst>
              <a:ext uri="{FF2B5EF4-FFF2-40B4-BE49-F238E27FC236}">
                <a16:creationId xmlns:a16="http://schemas.microsoft.com/office/drawing/2014/main" id="{A4320068-0C27-C478-1818-659D6E54ABB3}"/>
              </a:ext>
            </a:extLst>
          </p:cNvPr>
          <p:cNvSpPr/>
          <p:nvPr/>
        </p:nvSpPr>
        <p:spPr>
          <a:xfrm>
            <a:off x="839218" y="2193204"/>
            <a:ext cx="623570" cy="623570"/>
          </a:xfrm>
          <a:prstGeom prst="ellipse">
            <a:avLst/>
          </a:prstGeom>
          <a:solidFill>
            <a:srgbClr val="0F2047"/>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5" name="Pentagon 23">
            <a:extLst>
              <a:ext uri="{FF2B5EF4-FFF2-40B4-BE49-F238E27FC236}">
                <a16:creationId xmlns:a16="http://schemas.microsoft.com/office/drawing/2014/main" id="{4DF64A59-F14B-6897-5DA8-4518E033B3A1}"/>
              </a:ext>
            </a:extLst>
          </p:cNvPr>
          <p:cNvSpPr/>
          <p:nvPr/>
        </p:nvSpPr>
        <p:spPr>
          <a:xfrm>
            <a:off x="1125637" y="297224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US" sz="2133" b="1" kern="0">
                <a:solidFill>
                  <a:srgbClr val="E36053"/>
                </a:solidFill>
                <a:cs typeface="Arial" panose="020B0604020202020204" pitchFamily="34" charset="0"/>
              </a:rPr>
              <a:t>From OOP to MVC Pattern</a:t>
            </a:r>
            <a:endParaRPr lang="en-IN" sz="2133" b="1" kern="0">
              <a:solidFill>
                <a:srgbClr val="E36053"/>
              </a:solidFill>
              <a:cs typeface="Arial" panose="020B0604020202020204" pitchFamily="34" charset="0"/>
            </a:endParaRPr>
          </a:p>
        </p:txBody>
      </p:sp>
      <p:sp>
        <p:nvSpPr>
          <p:cNvPr id="67" name="Oval 66">
            <a:extLst>
              <a:ext uri="{FF2B5EF4-FFF2-40B4-BE49-F238E27FC236}">
                <a16:creationId xmlns:a16="http://schemas.microsoft.com/office/drawing/2014/main" id="{32E4ECB2-EF44-3F75-2577-EA5AF77003E1}"/>
              </a:ext>
            </a:extLst>
          </p:cNvPr>
          <p:cNvSpPr/>
          <p:nvPr/>
        </p:nvSpPr>
        <p:spPr>
          <a:xfrm>
            <a:off x="819227" y="2976862"/>
            <a:ext cx="623570" cy="623570"/>
          </a:xfrm>
          <a:prstGeom prst="ellipse">
            <a:avLst/>
          </a:prstGeom>
          <a:solidFill>
            <a:srgbClr val="E36053"/>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9" name="Pentagon 23">
            <a:extLst>
              <a:ext uri="{FF2B5EF4-FFF2-40B4-BE49-F238E27FC236}">
                <a16:creationId xmlns:a16="http://schemas.microsoft.com/office/drawing/2014/main" id="{FE52C954-768F-3FCA-7622-C82F5057646A}"/>
              </a:ext>
            </a:extLst>
          </p:cNvPr>
          <p:cNvSpPr/>
          <p:nvPr/>
        </p:nvSpPr>
        <p:spPr>
          <a:xfrm>
            <a:off x="1145628" y="375128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 to Design pattern</a:t>
            </a:r>
          </a:p>
        </p:txBody>
      </p:sp>
      <p:sp>
        <p:nvSpPr>
          <p:cNvPr id="71" name="Oval 70">
            <a:extLst>
              <a:ext uri="{FF2B5EF4-FFF2-40B4-BE49-F238E27FC236}">
                <a16:creationId xmlns:a16="http://schemas.microsoft.com/office/drawing/2014/main" id="{6EB4E7E0-3C85-1975-BB96-8679FE863E33}"/>
              </a:ext>
            </a:extLst>
          </p:cNvPr>
          <p:cNvSpPr/>
          <p:nvPr/>
        </p:nvSpPr>
        <p:spPr>
          <a:xfrm>
            <a:off x="839218" y="375590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3" name="Pentagon 23">
            <a:extLst>
              <a:ext uri="{FF2B5EF4-FFF2-40B4-BE49-F238E27FC236}">
                <a16:creationId xmlns:a16="http://schemas.microsoft.com/office/drawing/2014/main" id="{A0DF5099-3F9D-FD74-E8AC-C3C8489FECAD}"/>
              </a:ext>
            </a:extLst>
          </p:cNvPr>
          <p:cNvSpPr/>
          <p:nvPr/>
        </p:nvSpPr>
        <p:spPr>
          <a:xfrm>
            <a:off x="1145628" y="452570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Summarize	</a:t>
            </a:r>
          </a:p>
        </p:txBody>
      </p:sp>
      <p:sp>
        <p:nvSpPr>
          <p:cNvPr id="75" name="Oval 74">
            <a:extLst>
              <a:ext uri="{FF2B5EF4-FFF2-40B4-BE49-F238E27FC236}">
                <a16:creationId xmlns:a16="http://schemas.microsoft.com/office/drawing/2014/main" id="{C4A0805E-7274-BF67-74AF-E5037B91C888}"/>
              </a:ext>
            </a:extLst>
          </p:cNvPr>
          <p:cNvSpPr/>
          <p:nvPr/>
        </p:nvSpPr>
        <p:spPr>
          <a:xfrm>
            <a:off x="839218" y="453032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7" name="Pentagon 23">
            <a:extLst>
              <a:ext uri="{FF2B5EF4-FFF2-40B4-BE49-F238E27FC236}">
                <a16:creationId xmlns:a16="http://schemas.microsoft.com/office/drawing/2014/main" id="{1C8CEF69-E7A2-2D0D-33AB-7E2E99D02DD6}"/>
              </a:ext>
            </a:extLst>
          </p:cNvPr>
          <p:cNvSpPr/>
          <p:nvPr/>
        </p:nvSpPr>
        <p:spPr>
          <a:xfrm>
            <a:off x="1145628" y="52955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Q&amp;A</a:t>
            </a:r>
          </a:p>
        </p:txBody>
      </p:sp>
      <p:sp>
        <p:nvSpPr>
          <p:cNvPr id="79" name="Oval 78">
            <a:extLst>
              <a:ext uri="{FF2B5EF4-FFF2-40B4-BE49-F238E27FC236}">
                <a16:creationId xmlns:a16="http://schemas.microsoft.com/office/drawing/2014/main" id="{F2ED4571-F02C-1835-A1E6-C3F83E39CEB0}"/>
              </a:ext>
            </a:extLst>
          </p:cNvPr>
          <p:cNvSpPr/>
          <p:nvPr/>
        </p:nvSpPr>
        <p:spPr>
          <a:xfrm>
            <a:off x="839218" y="53001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pic>
        <p:nvPicPr>
          <p:cNvPr id="82" name="Graphic 81" descr="Link with solid fill">
            <a:extLst>
              <a:ext uri="{FF2B5EF4-FFF2-40B4-BE49-F238E27FC236}">
                <a16:creationId xmlns:a16="http://schemas.microsoft.com/office/drawing/2014/main" id="{C2F0AFED-92B1-95CF-879E-FC0A87C46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987" y="3092622"/>
            <a:ext cx="392051" cy="392051"/>
          </a:xfrm>
          <a:prstGeom prst="rect">
            <a:avLst/>
          </a:prstGeom>
        </p:spPr>
      </p:pic>
      <p:pic>
        <p:nvPicPr>
          <p:cNvPr id="84" name="Graphic 83" descr="Beginning with solid fill">
            <a:extLst>
              <a:ext uri="{FF2B5EF4-FFF2-40B4-BE49-F238E27FC236}">
                <a16:creationId xmlns:a16="http://schemas.microsoft.com/office/drawing/2014/main" id="{8943C64C-301A-050E-AA8B-1A7E381B25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2853" y="2316839"/>
            <a:ext cx="376301" cy="376301"/>
          </a:xfrm>
          <a:prstGeom prst="rect">
            <a:avLst/>
          </a:prstGeom>
        </p:spPr>
      </p:pic>
      <p:pic>
        <p:nvPicPr>
          <p:cNvPr id="86" name="Graphic 85" descr="Document with solid fill">
            <a:extLst>
              <a:ext uri="{FF2B5EF4-FFF2-40B4-BE49-F238E27FC236}">
                <a16:creationId xmlns:a16="http://schemas.microsoft.com/office/drawing/2014/main" id="{B284069A-20B2-FE9A-0D4D-212FF7F88D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6129" y="3882813"/>
            <a:ext cx="369748" cy="369748"/>
          </a:xfrm>
          <a:prstGeom prst="rect">
            <a:avLst/>
          </a:prstGeom>
        </p:spPr>
      </p:pic>
      <p:pic>
        <p:nvPicPr>
          <p:cNvPr id="88" name="Graphic 87" descr="Clipboard Partially Checked with solid fill">
            <a:extLst>
              <a:ext uri="{FF2B5EF4-FFF2-40B4-BE49-F238E27FC236}">
                <a16:creationId xmlns:a16="http://schemas.microsoft.com/office/drawing/2014/main" id="{49AB76FA-134A-CF98-5B5C-D1ABE51235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3878" y="4634984"/>
            <a:ext cx="414251" cy="414251"/>
          </a:xfrm>
          <a:prstGeom prst="rect">
            <a:avLst/>
          </a:prstGeom>
        </p:spPr>
      </p:pic>
      <p:pic>
        <p:nvPicPr>
          <p:cNvPr id="90" name="Graphic 89" descr="Customer review with solid fill">
            <a:extLst>
              <a:ext uri="{FF2B5EF4-FFF2-40B4-BE49-F238E27FC236}">
                <a16:creationId xmlns:a16="http://schemas.microsoft.com/office/drawing/2014/main" id="{1F145EE0-CDF6-91BD-28A0-D8FF0CB8B9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751" y="5405661"/>
            <a:ext cx="412505" cy="412505"/>
          </a:xfrm>
          <a:prstGeom prst="rect">
            <a:avLst/>
          </a:prstGeom>
        </p:spPr>
      </p:pic>
    </p:spTree>
    <p:custDataLst>
      <p:tags r:id="rId1"/>
    </p:custDataLst>
    <p:extLst>
      <p:ext uri="{BB962C8B-B14F-4D97-AF65-F5344CB8AC3E}">
        <p14:creationId xmlns:p14="http://schemas.microsoft.com/office/powerpoint/2010/main" val="182718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66DED-7696-60FE-DB67-E0C1A90263F4}"/>
              </a:ext>
            </a:extLst>
          </p:cNvPr>
          <p:cNvSpPr>
            <a:spLocks noGrp="1"/>
          </p:cNvSpPr>
          <p:nvPr>
            <p:ph type="title"/>
          </p:nvPr>
        </p:nvSpPr>
        <p:spPr/>
        <p:txBody>
          <a:bodyPr>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3600"/>
              <a:t>From OOP to MVC Pattern</a:t>
            </a:r>
            <a:endParaRPr lang="vi-VN" sz="3600"/>
          </a:p>
        </p:txBody>
      </p:sp>
      <p:sp>
        <p:nvSpPr>
          <p:cNvPr id="5" name="Text Placeholder 4">
            <a:extLst>
              <a:ext uri="{FF2B5EF4-FFF2-40B4-BE49-F238E27FC236}">
                <a16:creationId xmlns:a16="http://schemas.microsoft.com/office/drawing/2014/main" id="{7A98AC72-EE2A-3D59-2D8A-0C18500C7F04}"/>
              </a:ext>
            </a:extLst>
          </p:cNvPr>
          <p:cNvSpPr>
            <a:spLocks noGrp="1"/>
          </p:cNvSpPr>
          <p:nvPr>
            <p:ph type="body" sz="quarter" idx="12"/>
          </p:nvPr>
        </p:nvSpPr>
        <p:spPr>
          <a:xfrm>
            <a:off x="711533" y="1745673"/>
            <a:ext cx="10760801" cy="4420178"/>
          </a:xfrm>
        </p:spPr>
        <p:txBody>
          <a:bodyPr>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indent="684213">
              <a:buFont typeface="Courier New" panose="02070309020205020404" pitchFamily="49" charset="0"/>
              <a:buChar char="o"/>
            </a:pPr>
            <a:r>
              <a:rPr lang="en-US" sz="3600"/>
              <a:t>Case study</a:t>
            </a:r>
          </a:p>
          <a:p>
            <a:pPr indent="684213">
              <a:buFont typeface="Courier New" panose="02070309020205020404" pitchFamily="49" charset="0"/>
              <a:buChar char="o"/>
            </a:pPr>
            <a:r>
              <a:rPr lang="en-US" sz="3600"/>
              <a:t>Definition &amp; Motivation</a:t>
            </a:r>
          </a:p>
          <a:p>
            <a:pPr indent="684213">
              <a:buFont typeface="Courier New" panose="02070309020205020404" pitchFamily="49" charset="0"/>
              <a:buChar char="o"/>
            </a:pPr>
            <a:r>
              <a:rPr lang="en-US" sz="3600"/>
              <a:t>Real world examples</a:t>
            </a:r>
          </a:p>
        </p:txBody>
      </p:sp>
    </p:spTree>
    <p:extLst>
      <p:ext uri="{BB962C8B-B14F-4D97-AF65-F5344CB8AC3E}">
        <p14:creationId xmlns:p14="http://schemas.microsoft.com/office/powerpoint/2010/main" val="2239960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928F88-9869-406A-A386-D84EB71A8317}"/>
              </a:ext>
            </a:extLst>
          </p:cNvPr>
          <p:cNvSpPr>
            <a:spLocks noGrp="1"/>
          </p:cNvSpPr>
          <p:nvPr>
            <p:ph type="body" sz="quarter" idx="16"/>
          </p:nvPr>
        </p:nvSpPr>
        <p:spPr>
          <a:xfrm>
            <a:off x="719667" y="2327563"/>
            <a:ext cx="5103284" cy="3838287"/>
          </a:xfrm>
        </p:spPr>
        <p:txBody>
          <a:bodyPr anchor="t">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400">
                <a:solidFill>
                  <a:srgbClr val="0F2047"/>
                </a:solidFill>
              </a:rPr>
              <a:t>Both finished the OOP course last semester.</a:t>
            </a:r>
          </a:p>
          <a:p>
            <a:pPr marL="285750" indent="-285750">
              <a:buFont typeface="Arial" panose="020B0604020202020204" pitchFamily="34" charset="0"/>
              <a:buChar char="•"/>
            </a:pPr>
            <a:r>
              <a:rPr lang="en-US" sz="2400">
                <a:solidFill>
                  <a:srgbClr val="0F2047"/>
                </a:solidFill>
              </a:rPr>
              <a:t>Learned how to design an application using OO paradigm via their last project.</a:t>
            </a:r>
          </a:p>
          <a:p>
            <a:pPr marL="285750" indent="-285750">
              <a:buFont typeface="Arial" panose="020B0604020202020204" pitchFamily="34" charset="0"/>
              <a:buChar char="•"/>
            </a:pPr>
            <a:r>
              <a:rPr lang="en-US" sz="2400">
                <a:solidFill>
                  <a:srgbClr val="0F2047"/>
                </a:solidFill>
              </a:rPr>
              <a:t>Hungry to practice more about OO design and OO programming.</a:t>
            </a:r>
          </a:p>
        </p:txBody>
      </p:sp>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12" name="Content Placeholder 11" descr="A picture containing cartoon, fictional character, animation, fiction&#10;&#10;Description automatically generated">
            <a:extLst>
              <a:ext uri="{FF2B5EF4-FFF2-40B4-BE49-F238E27FC236}">
                <a16:creationId xmlns:a16="http://schemas.microsoft.com/office/drawing/2014/main" id="{98825C76-85AE-5DDD-875F-842B08AB7E4F}"/>
              </a:ext>
            </a:extLst>
          </p:cNvPr>
          <p:cNvPicPr>
            <a:picLocks noGrp="1" noChangeAspect="1"/>
          </p:cNvPicPr>
          <p:nvPr>
            <p:ph idx="13"/>
          </p:nvPr>
        </p:nvPicPr>
        <p:blipFill>
          <a:blip r:embed="rId4">
            <a:extLst>
              <a:ext uri="{28A0092B-C50C-407E-A947-70E740481C1C}">
                <a14:useLocalDpi xmlns:a14="http://schemas.microsoft.com/office/drawing/2010/main" val="0"/>
              </a:ext>
            </a:extLst>
          </a:blip>
          <a:stretch>
            <a:fillRect/>
          </a:stretch>
        </p:blipFill>
        <p:spPr>
          <a:xfrm>
            <a:off x="6911244" y="613433"/>
            <a:ext cx="4273992" cy="2404121"/>
          </a:xfrm>
        </p:spPr>
      </p:pic>
      <p:pic>
        <p:nvPicPr>
          <p:cNvPr id="14" name="Picture 13" descr="A picture containing cartoon, statue, toy, indoor&#10;&#10;Description automatically generated">
            <a:extLst>
              <a:ext uri="{FF2B5EF4-FFF2-40B4-BE49-F238E27FC236}">
                <a16:creationId xmlns:a16="http://schemas.microsoft.com/office/drawing/2014/main" id="{B06BEAF7-0E50-FC0B-A8D2-034093FCC4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11244" y="3429000"/>
            <a:ext cx="4273992" cy="2404121"/>
          </a:xfrm>
          <a:prstGeom prst="rect">
            <a:avLst/>
          </a:prstGeom>
        </p:spPr>
      </p:pic>
      <p:sp>
        <p:nvSpPr>
          <p:cNvPr id="15" name="TextBox 14">
            <a:extLst>
              <a:ext uri="{FF2B5EF4-FFF2-40B4-BE49-F238E27FC236}">
                <a16:creationId xmlns:a16="http://schemas.microsoft.com/office/drawing/2014/main" id="{69457906-010A-534E-3024-73CEE13E5A47}"/>
              </a:ext>
            </a:extLst>
          </p:cNvPr>
          <p:cNvSpPr txBox="1"/>
          <p:nvPr/>
        </p:nvSpPr>
        <p:spPr>
          <a:xfrm>
            <a:off x="711533" y="1579418"/>
            <a:ext cx="5103284" cy="591127"/>
          </a:xfrm>
          <a:prstGeom prst="rect">
            <a:avLst/>
          </a:prstGeom>
          <a:noFill/>
        </p:spPr>
        <p:txBody>
          <a:bodyPr wrap="none" lIns="0" tIns="0" rIns="0" bIns="0" rtlCol="0">
            <a:noAutofit/>
          </a:bodyPr>
          <a:lstStyle/>
          <a:p>
            <a:pPr algn="l"/>
            <a:r>
              <a:rPr lang="en-US" sz="2400" b="1"/>
              <a:t>Greeting again with Dazzle and </a:t>
            </a:r>
            <a:r>
              <a:rPr lang="en-US" sz="2400" b="1" err="1"/>
              <a:t>Huskar</a:t>
            </a:r>
            <a:endParaRPr lang="vi-VN" sz="2400" b="1" err="1"/>
          </a:p>
        </p:txBody>
      </p:sp>
    </p:spTree>
    <p:custDataLst>
      <p:tags r:id="rId1"/>
    </p:custDataLst>
    <p:extLst>
      <p:ext uri="{BB962C8B-B14F-4D97-AF65-F5344CB8AC3E}">
        <p14:creationId xmlns:p14="http://schemas.microsoft.com/office/powerpoint/2010/main" val="2841337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1A844FE5-779B-4617-BC0D-1E543716329F}"/>
              </a:ext>
            </a:extLst>
          </p:cNvPr>
          <p:cNvSpPr/>
          <p:nvPr/>
        </p:nvSpPr>
        <p:spPr>
          <a:xfrm>
            <a:off x="2064013" y="5276640"/>
            <a:ext cx="9412800" cy="9582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They tend to invite more developers to join the project</a:t>
            </a:r>
          </a:p>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The team could be divided into two sub-team to take care of UI design and business logic better.</a:t>
            </a:r>
          </a:p>
        </p:txBody>
      </p:sp>
      <p:sp>
        <p:nvSpPr>
          <p:cNvPr id="49" name="Rectangle 48">
            <a:extLst>
              <a:ext uri="{FF2B5EF4-FFF2-40B4-BE49-F238E27FC236}">
                <a16:creationId xmlns:a16="http://schemas.microsoft.com/office/drawing/2014/main" id="{06155B41-EB7E-42CD-B593-9C8A4FA5D10A}"/>
              </a:ext>
            </a:extLst>
          </p:cNvPr>
          <p:cNvSpPr/>
          <p:nvPr/>
        </p:nvSpPr>
        <p:spPr>
          <a:xfrm>
            <a:off x="2064013" y="4110053"/>
            <a:ext cx="9412800" cy="1065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May expand in future to cover for other management tasks of organizers</a:t>
            </a:r>
          </a:p>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May increase number of roles and separate the responsibility of each tasks for each role</a:t>
            </a:r>
          </a:p>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lang="en-US" sz="1867" kern="0">
                <a:cs typeface="Arial" pitchFamily="34"/>
              </a:rPr>
              <a:t>May transform into a web application later on</a:t>
            </a:r>
            <a:endParaRPr kumimoji="0" lang="en-US" sz="1867" b="0" i="0" u="none" strike="noStrike" kern="0" cap="none" spc="0" normalizeH="0" baseline="0" noProof="0">
              <a:ln>
                <a:noFill/>
              </a:ln>
              <a:solidFill>
                <a:schemeClr val="tx1"/>
              </a:solidFill>
              <a:effectLst/>
              <a:uLnTx/>
              <a:uFillTx/>
              <a:ea typeface="+mn-ea"/>
              <a:cs typeface="Arial" pitchFamily="34"/>
            </a:endParaRPr>
          </a:p>
        </p:txBody>
      </p:sp>
      <p:sp>
        <p:nvSpPr>
          <p:cNvPr id="44" name="Rectangle 43">
            <a:extLst>
              <a:ext uri="{FF2B5EF4-FFF2-40B4-BE49-F238E27FC236}">
                <a16:creationId xmlns:a16="http://schemas.microsoft.com/office/drawing/2014/main" id="{3FCBEAB7-2EA5-4A72-999F-7695D420D9FA}"/>
              </a:ext>
            </a:extLst>
          </p:cNvPr>
          <p:cNvSpPr/>
          <p:nvPr/>
        </p:nvSpPr>
        <p:spPr>
          <a:xfrm>
            <a:off x="1206500" y="3402752"/>
            <a:ext cx="10272000" cy="6144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Identify user by username-password login mechanism</a:t>
            </a:r>
          </a:p>
        </p:txBody>
      </p:sp>
      <p:sp>
        <p:nvSpPr>
          <p:cNvPr id="42" name="Rectangle 41">
            <a:extLst>
              <a:ext uri="{FF2B5EF4-FFF2-40B4-BE49-F238E27FC236}">
                <a16:creationId xmlns:a16="http://schemas.microsoft.com/office/drawing/2014/main" id="{CB0FC258-D8DA-4566-BB8B-82D1D2DBE4E6}"/>
              </a:ext>
            </a:extLst>
          </p:cNvPr>
          <p:cNvSpPr/>
          <p:nvPr/>
        </p:nvSpPr>
        <p:spPr>
          <a:xfrm>
            <a:off x="1206500" y="2694468"/>
            <a:ext cx="10272000" cy="6144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867" b="0" i="0" u="none" strike="noStrike" kern="0" cap="none" spc="0" normalizeH="0" baseline="0" noProof="0">
                <a:ln>
                  <a:noFill/>
                </a:ln>
                <a:solidFill>
                  <a:schemeClr val="tx1"/>
                </a:solidFill>
                <a:effectLst/>
                <a:uLnTx/>
                <a:uFillTx/>
                <a:ea typeface="+mn-ea"/>
                <a:cs typeface="Arial" pitchFamily="34"/>
              </a:rPr>
              <a:t>Help club organizers manage their members and activities</a:t>
            </a:r>
          </a:p>
        </p:txBody>
      </p:sp>
      <p:sp>
        <p:nvSpPr>
          <p:cNvPr id="2" name="Rectangle 1">
            <a:extLst>
              <a:ext uri="{FF2B5EF4-FFF2-40B4-BE49-F238E27FC236}">
                <a16:creationId xmlns:a16="http://schemas.microsoft.com/office/drawing/2014/main" id="{4BF62FB5-6D8D-4553-B9EB-4FD15EC32DC5}"/>
              </a:ext>
            </a:extLst>
          </p:cNvPr>
          <p:cNvSpPr/>
          <p:nvPr/>
        </p:nvSpPr>
        <p:spPr>
          <a:xfrm>
            <a:off x="1206500" y="1985204"/>
            <a:ext cx="10272000" cy="6144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lang="en-US" sz="1867" kern="0">
                <a:cs typeface="Arial" pitchFamily="34"/>
              </a:rPr>
              <a:t>Provide a portal where club members can browse and sign up for club’s activities</a:t>
            </a:r>
            <a:endParaRPr kumimoji="0" lang="en-US" sz="1867" b="0" i="0" u="none" strike="noStrike" kern="0" cap="none" spc="0" normalizeH="0" baseline="0" noProof="0">
              <a:ln>
                <a:noFill/>
              </a:ln>
              <a:solidFill>
                <a:schemeClr val="tx1"/>
              </a:solidFill>
              <a:effectLst/>
              <a:uLnTx/>
              <a:uFillTx/>
              <a:ea typeface="+mn-ea"/>
              <a:cs typeface="Arial" pitchFamily="34"/>
            </a:endParaRPr>
          </a:p>
        </p:txBody>
      </p:sp>
      <p:sp>
        <p:nvSpPr>
          <p:cNvPr id="5" name="Title 4"/>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3" name="Rectangle 22">
            <a:extLst>
              <a:ext uri="{FF2B5EF4-FFF2-40B4-BE49-F238E27FC236}">
                <a16:creationId xmlns:a16="http://schemas.microsoft.com/office/drawing/2014/main" id="{693F1E62-B633-4E4F-B9CB-8BC5244996EA}"/>
              </a:ext>
            </a:extLst>
          </p:cNvPr>
          <p:cNvSpPr/>
          <p:nvPr/>
        </p:nvSpPr>
        <p:spPr>
          <a:xfrm>
            <a:off x="720013" y="1409700"/>
            <a:ext cx="10756800" cy="482601"/>
          </a:xfrm>
          <a:prstGeom prst="rect">
            <a:avLst/>
          </a:prstGeom>
          <a:solidFill>
            <a:schemeClr val="tx1"/>
          </a:solidFill>
          <a:ln w="9525" cap="flat" cmpd="sng" algn="ctr">
            <a:noFill/>
            <a:prstDash val="solid"/>
          </a:ln>
          <a:effectLst/>
        </p:spPr>
        <p:txBody>
          <a:bodyPr lIns="576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867" b="1" i="0" u="none" strike="noStrike" kern="0" cap="none" spc="0" normalizeH="0" baseline="0" noProof="0">
                <a:ln>
                  <a:noFill/>
                </a:ln>
                <a:solidFill>
                  <a:schemeClr val="bg1"/>
                </a:solidFill>
                <a:effectLst/>
                <a:uLnTx/>
                <a:uFillTx/>
                <a:ea typeface="+mn-ea"/>
                <a:cs typeface="Arial" pitchFamily="34"/>
              </a:rPr>
              <a:t>They are building a console application</a:t>
            </a:r>
          </a:p>
        </p:txBody>
      </p:sp>
      <p:sp>
        <p:nvSpPr>
          <p:cNvPr id="24" name="Oval 23">
            <a:extLst>
              <a:ext uri="{FF2B5EF4-FFF2-40B4-BE49-F238E27FC236}">
                <a16:creationId xmlns:a16="http://schemas.microsoft.com/office/drawing/2014/main" id="{03913994-1CA9-4E3A-8DAC-5F7E2552C4E7}"/>
              </a:ext>
            </a:extLst>
          </p:cNvPr>
          <p:cNvSpPr/>
          <p:nvPr/>
        </p:nvSpPr>
        <p:spPr>
          <a:xfrm>
            <a:off x="757617" y="1449085"/>
            <a:ext cx="403831" cy="4038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22" name="Rectangle 21">
            <a:extLst>
              <a:ext uri="{FF2B5EF4-FFF2-40B4-BE49-F238E27FC236}">
                <a16:creationId xmlns:a16="http://schemas.microsoft.com/office/drawing/2014/main" id="{EE1FECDC-6AD7-49D3-8478-0CD024AFC048}"/>
              </a:ext>
            </a:extLst>
          </p:cNvPr>
          <p:cNvSpPr/>
          <p:nvPr/>
        </p:nvSpPr>
        <p:spPr>
          <a:xfrm>
            <a:off x="1161447" y="1985205"/>
            <a:ext cx="50000" cy="615380"/>
          </a:xfrm>
          <a:prstGeom prst="rect">
            <a:avLst/>
          </a:prstGeom>
          <a:solidFill>
            <a:schemeClr val="tx1"/>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grpSp>
        <p:nvGrpSpPr>
          <p:cNvPr id="28" name="Group 27">
            <a:extLst>
              <a:ext uri="{FF2B5EF4-FFF2-40B4-BE49-F238E27FC236}">
                <a16:creationId xmlns:a16="http://schemas.microsoft.com/office/drawing/2014/main" id="{6F85B548-4EB7-43BD-9844-44F54927BE45}"/>
              </a:ext>
            </a:extLst>
          </p:cNvPr>
          <p:cNvGrpSpPr/>
          <p:nvPr/>
        </p:nvGrpSpPr>
        <p:grpSpPr>
          <a:xfrm>
            <a:off x="1076365" y="2191807"/>
            <a:ext cx="246387" cy="202173"/>
            <a:chOff x="4180859" y="3126580"/>
            <a:chExt cx="883690" cy="725116"/>
          </a:xfrm>
        </p:grpSpPr>
        <p:sp>
          <p:nvSpPr>
            <p:cNvPr id="25" name="Freeform 5">
              <a:extLst>
                <a:ext uri="{FF2B5EF4-FFF2-40B4-BE49-F238E27FC236}">
                  <a16:creationId xmlns:a16="http://schemas.microsoft.com/office/drawing/2014/main" id="{A451A7FE-9C48-472B-A7CA-FE2CAF9764B3}"/>
                </a:ext>
              </a:extLst>
            </p:cNvPr>
            <p:cNvSpPr/>
            <p:nvPr/>
          </p:nvSpPr>
          <p:spPr>
            <a:xfrm rot="10799991">
              <a:off x="4180859" y="3126580"/>
              <a:ext cx="883690" cy="725116"/>
            </a:xfrm>
            <a:custGeom>
              <a:avLst/>
              <a:gdLst>
                <a:gd name="f0" fmla="val 10800000"/>
                <a:gd name="f1" fmla="val 5400000"/>
                <a:gd name="f2" fmla="val 180"/>
                <a:gd name="f3" fmla="val w"/>
                <a:gd name="f4" fmla="val h"/>
                <a:gd name="f5" fmla="val 0"/>
                <a:gd name="f6" fmla="val 1879"/>
                <a:gd name="f7" fmla="val 1625"/>
                <a:gd name="f8" fmla="val 1067"/>
                <a:gd name="f9" fmla="val 1515"/>
                <a:gd name="f10" fmla="val 364"/>
                <a:gd name="f11" fmla="val 812"/>
                <a:gd name="f12" fmla="val 1261"/>
                <a:gd name="f13" fmla="val 618"/>
                <a:gd name="f14" fmla="val 291"/>
                <a:gd name="f15" fmla="val 1044"/>
                <a:gd name="f16" fmla="val 339"/>
                <a:gd name="f17" fmla="val 485"/>
                <a:gd name="f18" fmla="+- 0 0 -90"/>
                <a:gd name="f19" fmla="*/ f3 1 1879"/>
                <a:gd name="f20" fmla="*/ f4 1 1625"/>
                <a:gd name="f21" fmla="+- f7 0 f5"/>
                <a:gd name="f22" fmla="+- f6 0 f5"/>
                <a:gd name="f23" fmla="*/ f18 f0 1"/>
                <a:gd name="f24" fmla="*/ f22 1 1879"/>
                <a:gd name="f25" fmla="*/ f21 1 1625"/>
                <a:gd name="f26" fmla="*/ 1067 f22 1"/>
                <a:gd name="f27" fmla="*/ 0 f21 1"/>
                <a:gd name="f28" fmla="*/ 1879 f22 1"/>
                <a:gd name="f29" fmla="*/ 812 f21 1"/>
                <a:gd name="f30" fmla="*/ 1625 f21 1"/>
                <a:gd name="f31" fmla="*/ 0 f22 1"/>
                <a:gd name="f32" fmla="*/ f23 1 f2"/>
                <a:gd name="f33" fmla="*/ f26 1 1879"/>
                <a:gd name="f34" fmla="*/ f27 1 1625"/>
                <a:gd name="f35" fmla="*/ f28 1 1879"/>
                <a:gd name="f36" fmla="*/ f29 1 1625"/>
                <a:gd name="f37" fmla="*/ f30 1 1625"/>
                <a:gd name="f38" fmla="*/ f31 1 1879"/>
                <a:gd name="f39" fmla="*/ 0 1 f24"/>
                <a:gd name="f40" fmla="*/ f6 1 f24"/>
                <a:gd name="f41" fmla="*/ 0 1 f25"/>
                <a:gd name="f42" fmla="*/ f7 1 f25"/>
                <a:gd name="f43" fmla="+- f32 0 f1"/>
                <a:gd name="f44" fmla="*/ f33 1 f24"/>
                <a:gd name="f45" fmla="*/ f34 1 f25"/>
                <a:gd name="f46" fmla="*/ f35 1 f24"/>
                <a:gd name="f47" fmla="*/ f36 1 f25"/>
                <a:gd name="f48" fmla="*/ f37 1 f25"/>
                <a:gd name="f49" fmla="*/ f38 1 f24"/>
                <a:gd name="f50" fmla="*/ f39 f19 1"/>
                <a:gd name="f51" fmla="*/ f40 f19 1"/>
                <a:gd name="f52" fmla="*/ f42 f20 1"/>
                <a:gd name="f53" fmla="*/ f41 f20 1"/>
                <a:gd name="f54" fmla="*/ f44 f19 1"/>
                <a:gd name="f55" fmla="*/ f45 f20 1"/>
                <a:gd name="f56" fmla="*/ f46 f19 1"/>
                <a:gd name="f57" fmla="*/ f47 f20 1"/>
                <a:gd name="f58" fmla="*/ f48 f20 1"/>
                <a:gd name="f59" fmla="*/ f49 f19 1"/>
              </a:gdLst>
              <a:ahLst/>
              <a:cxnLst>
                <a:cxn ang="3cd4">
                  <a:pos x="hc" y="t"/>
                </a:cxn>
                <a:cxn ang="0">
                  <a:pos x="r" y="vc"/>
                </a:cxn>
                <a:cxn ang="cd4">
                  <a:pos x="hc" y="b"/>
                </a:cxn>
                <a:cxn ang="cd2">
                  <a:pos x="l" y="vc"/>
                </a:cxn>
                <a:cxn ang="f43">
                  <a:pos x="f54" y="f55"/>
                </a:cxn>
                <a:cxn ang="f43">
                  <a:pos x="f56" y="f57"/>
                </a:cxn>
                <a:cxn ang="f43">
                  <a:pos x="f54" y="f58"/>
                </a:cxn>
                <a:cxn ang="f43">
                  <a:pos x="f59" y="f57"/>
                </a:cxn>
                <a:cxn ang="f43">
                  <a:pos x="f54" y="f55"/>
                </a:cxn>
              </a:cxnLst>
              <a:rect l="f50" t="f53" r="f51" b="f52"/>
              <a:pathLst>
                <a:path w="1879" h="1625">
                  <a:moveTo>
                    <a:pt x="f8" y="f5"/>
                  </a:moveTo>
                  <a:cubicBezTo>
                    <a:pt x="f9" y="f5"/>
                    <a:pt x="f6" y="f10"/>
                    <a:pt x="f6" y="f11"/>
                  </a:cubicBezTo>
                  <a:cubicBezTo>
                    <a:pt x="f6" y="f12"/>
                    <a:pt x="f9" y="f7"/>
                    <a:pt x="f8" y="f7"/>
                  </a:cubicBezTo>
                  <a:cubicBezTo>
                    <a:pt x="f13" y="f7"/>
                    <a:pt x="f14" y="f15"/>
                    <a:pt x="f5" y="f11"/>
                  </a:cubicBezTo>
                  <a:cubicBezTo>
                    <a:pt x="f16" y="f17"/>
                    <a:pt x="f13" y="f5"/>
                    <a:pt x="f8" y="f5"/>
                  </a:cubicBezTo>
                  <a:close/>
                </a:path>
              </a:pathLst>
            </a:custGeom>
            <a:solidFill>
              <a:schemeClr val="tx2"/>
            </a:solidFill>
            <a:ln cap="flat">
              <a:noFill/>
              <a:prstDash val="solid"/>
            </a:ln>
          </p:spPr>
          <p:txBody>
            <a:bodyPr vert="horz" wrap="square" lIns="121920" tIns="60960" rIns="121920" bIns="60960" anchor="t" anchorCtr="0"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67" b="0" i="0" u="none" strike="noStrike" kern="0" cap="none" spc="0" normalizeH="0" baseline="0" noProof="0">
                <a:ln>
                  <a:noFill/>
                </a:ln>
                <a:effectLst/>
                <a:uLnTx/>
                <a:uFillTx/>
              </a:endParaRPr>
            </a:p>
          </p:txBody>
        </p:sp>
        <p:sp>
          <p:nvSpPr>
            <p:cNvPr id="26" name="Oval 20">
              <a:extLst>
                <a:ext uri="{FF2B5EF4-FFF2-40B4-BE49-F238E27FC236}">
                  <a16:creationId xmlns:a16="http://schemas.microsoft.com/office/drawing/2014/main" id="{699647F9-09F0-48E0-85BB-15D8ED68FC91}"/>
                </a:ext>
              </a:extLst>
            </p:cNvPr>
            <p:cNvSpPr/>
            <p:nvPr/>
          </p:nvSpPr>
          <p:spPr>
            <a:xfrm>
              <a:off x="4236339" y="3181728"/>
              <a:ext cx="614821" cy="61482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chemeClr val="bg2"/>
            </a:solidFill>
            <a:ln cap="flat">
              <a:noFill/>
              <a:prstDash val="solid"/>
            </a:ln>
          </p:spPr>
          <p:txBody>
            <a:bodyPr vert="horz" wrap="square" lIns="121920" tIns="60960" rIns="121920" bIns="60960" anchor="ctr" anchorCtr="1"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67" b="0" i="0" u="none" strike="noStrike" kern="0" cap="none" spc="0" normalizeH="0" baseline="0" noProof="0">
                <a:ln>
                  <a:noFill/>
                </a:ln>
                <a:effectLst/>
                <a:uLnTx/>
                <a:uFillTx/>
              </a:endParaRPr>
            </a:p>
          </p:txBody>
        </p:sp>
      </p:grpSp>
      <p:sp>
        <p:nvSpPr>
          <p:cNvPr id="32" name="Rectangle 31">
            <a:extLst>
              <a:ext uri="{FF2B5EF4-FFF2-40B4-BE49-F238E27FC236}">
                <a16:creationId xmlns:a16="http://schemas.microsoft.com/office/drawing/2014/main" id="{C62FE702-E2B4-4022-9A51-14403547284A}"/>
              </a:ext>
            </a:extLst>
          </p:cNvPr>
          <p:cNvSpPr/>
          <p:nvPr/>
        </p:nvSpPr>
        <p:spPr>
          <a:xfrm>
            <a:off x="1161447" y="2693489"/>
            <a:ext cx="50000" cy="615380"/>
          </a:xfrm>
          <a:prstGeom prst="rect">
            <a:avLst/>
          </a:prstGeom>
          <a:solidFill>
            <a:schemeClr val="tx1"/>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grpSp>
        <p:nvGrpSpPr>
          <p:cNvPr id="33" name="Group 32">
            <a:extLst>
              <a:ext uri="{FF2B5EF4-FFF2-40B4-BE49-F238E27FC236}">
                <a16:creationId xmlns:a16="http://schemas.microsoft.com/office/drawing/2014/main" id="{88E02D7F-4810-4B77-8722-8EC80C1BC8C4}"/>
              </a:ext>
            </a:extLst>
          </p:cNvPr>
          <p:cNvGrpSpPr/>
          <p:nvPr/>
        </p:nvGrpSpPr>
        <p:grpSpPr>
          <a:xfrm>
            <a:off x="1076365" y="2900091"/>
            <a:ext cx="246387" cy="202173"/>
            <a:chOff x="4180859" y="3126580"/>
            <a:chExt cx="883690" cy="725116"/>
          </a:xfrm>
        </p:grpSpPr>
        <p:sp>
          <p:nvSpPr>
            <p:cNvPr id="34" name="Freeform 5">
              <a:extLst>
                <a:ext uri="{FF2B5EF4-FFF2-40B4-BE49-F238E27FC236}">
                  <a16:creationId xmlns:a16="http://schemas.microsoft.com/office/drawing/2014/main" id="{069A83C7-3027-404A-8C81-D2576F22DEDD}"/>
                </a:ext>
              </a:extLst>
            </p:cNvPr>
            <p:cNvSpPr/>
            <p:nvPr/>
          </p:nvSpPr>
          <p:spPr>
            <a:xfrm rot="10799991">
              <a:off x="4180859" y="3126580"/>
              <a:ext cx="883690" cy="725116"/>
            </a:xfrm>
            <a:custGeom>
              <a:avLst/>
              <a:gdLst>
                <a:gd name="f0" fmla="val 10800000"/>
                <a:gd name="f1" fmla="val 5400000"/>
                <a:gd name="f2" fmla="val 180"/>
                <a:gd name="f3" fmla="val w"/>
                <a:gd name="f4" fmla="val h"/>
                <a:gd name="f5" fmla="val 0"/>
                <a:gd name="f6" fmla="val 1879"/>
                <a:gd name="f7" fmla="val 1625"/>
                <a:gd name="f8" fmla="val 1067"/>
                <a:gd name="f9" fmla="val 1515"/>
                <a:gd name="f10" fmla="val 364"/>
                <a:gd name="f11" fmla="val 812"/>
                <a:gd name="f12" fmla="val 1261"/>
                <a:gd name="f13" fmla="val 618"/>
                <a:gd name="f14" fmla="val 291"/>
                <a:gd name="f15" fmla="val 1044"/>
                <a:gd name="f16" fmla="val 339"/>
                <a:gd name="f17" fmla="val 485"/>
                <a:gd name="f18" fmla="+- 0 0 -90"/>
                <a:gd name="f19" fmla="*/ f3 1 1879"/>
                <a:gd name="f20" fmla="*/ f4 1 1625"/>
                <a:gd name="f21" fmla="+- f7 0 f5"/>
                <a:gd name="f22" fmla="+- f6 0 f5"/>
                <a:gd name="f23" fmla="*/ f18 f0 1"/>
                <a:gd name="f24" fmla="*/ f22 1 1879"/>
                <a:gd name="f25" fmla="*/ f21 1 1625"/>
                <a:gd name="f26" fmla="*/ 1067 f22 1"/>
                <a:gd name="f27" fmla="*/ 0 f21 1"/>
                <a:gd name="f28" fmla="*/ 1879 f22 1"/>
                <a:gd name="f29" fmla="*/ 812 f21 1"/>
                <a:gd name="f30" fmla="*/ 1625 f21 1"/>
                <a:gd name="f31" fmla="*/ 0 f22 1"/>
                <a:gd name="f32" fmla="*/ f23 1 f2"/>
                <a:gd name="f33" fmla="*/ f26 1 1879"/>
                <a:gd name="f34" fmla="*/ f27 1 1625"/>
                <a:gd name="f35" fmla="*/ f28 1 1879"/>
                <a:gd name="f36" fmla="*/ f29 1 1625"/>
                <a:gd name="f37" fmla="*/ f30 1 1625"/>
                <a:gd name="f38" fmla="*/ f31 1 1879"/>
                <a:gd name="f39" fmla="*/ 0 1 f24"/>
                <a:gd name="f40" fmla="*/ f6 1 f24"/>
                <a:gd name="f41" fmla="*/ 0 1 f25"/>
                <a:gd name="f42" fmla="*/ f7 1 f25"/>
                <a:gd name="f43" fmla="+- f32 0 f1"/>
                <a:gd name="f44" fmla="*/ f33 1 f24"/>
                <a:gd name="f45" fmla="*/ f34 1 f25"/>
                <a:gd name="f46" fmla="*/ f35 1 f24"/>
                <a:gd name="f47" fmla="*/ f36 1 f25"/>
                <a:gd name="f48" fmla="*/ f37 1 f25"/>
                <a:gd name="f49" fmla="*/ f38 1 f24"/>
                <a:gd name="f50" fmla="*/ f39 f19 1"/>
                <a:gd name="f51" fmla="*/ f40 f19 1"/>
                <a:gd name="f52" fmla="*/ f42 f20 1"/>
                <a:gd name="f53" fmla="*/ f41 f20 1"/>
                <a:gd name="f54" fmla="*/ f44 f19 1"/>
                <a:gd name="f55" fmla="*/ f45 f20 1"/>
                <a:gd name="f56" fmla="*/ f46 f19 1"/>
                <a:gd name="f57" fmla="*/ f47 f20 1"/>
                <a:gd name="f58" fmla="*/ f48 f20 1"/>
                <a:gd name="f59" fmla="*/ f49 f19 1"/>
              </a:gdLst>
              <a:ahLst/>
              <a:cxnLst>
                <a:cxn ang="3cd4">
                  <a:pos x="hc" y="t"/>
                </a:cxn>
                <a:cxn ang="0">
                  <a:pos x="r" y="vc"/>
                </a:cxn>
                <a:cxn ang="cd4">
                  <a:pos x="hc" y="b"/>
                </a:cxn>
                <a:cxn ang="cd2">
                  <a:pos x="l" y="vc"/>
                </a:cxn>
                <a:cxn ang="f43">
                  <a:pos x="f54" y="f55"/>
                </a:cxn>
                <a:cxn ang="f43">
                  <a:pos x="f56" y="f57"/>
                </a:cxn>
                <a:cxn ang="f43">
                  <a:pos x="f54" y="f58"/>
                </a:cxn>
                <a:cxn ang="f43">
                  <a:pos x="f59" y="f57"/>
                </a:cxn>
                <a:cxn ang="f43">
                  <a:pos x="f54" y="f55"/>
                </a:cxn>
              </a:cxnLst>
              <a:rect l="f50" t="f53" r="f51" b="f52"/>
              <a:pathLst>
                <a:path w="1879" h="1625">
                  <a:moveTo>
                    <a:pt x="f8" y="f5"/>
                  </a:moveTo>
                  <a:cubicBezTo>
                    <a:pt x="f9" y="f5"/>
                    <a:pt x="f6" y="f10"/>
                    <a:pt x="f6" y="f11"/>
                  </a:cubicBezTo>
                  <a:cubicBezTo>
                    <a:pt x="f6" y="f12"/>
                    <a:pt x="f9" y="f7"/>
                    <a:pt x="f8" y="f7"/>
                  </a:cubicBezTo>
                  <a:cubicBezTo>
                    <a:pt x="f13" y="f7"/>
                    <a:pt x="f14" y="f15"/>
                    <a:pt x="f5" y="f11"/>
                  </a:cubicBezTo>
                  <a:cubicBezTo>
                    <a:pt x="f16" y="f17"/>
                    <a:pt x="f13" y="f5"/>
                    <a:pt x="f8" y="f5"/>
                  </a:cubicBezTo>
                  <a:close/>
                </a:path>
              </a:pathLst>
            </a:custGeom>
            <a:solidFill>
              <a:schemeClr val="tx2"/>
            </a:solidFill>
            <a:ln cap="flat">
              <a:noFill/>
              <a:prstDash val="solid"/>
            </a:ln>
          </p:spPr>
          <p:txBody>
            <a:bodyPr vert="horz" wrap="square" lIns="121920" tIns="60960" rIns="121920" bIns="60960" anchor="t" anchorCtr="0"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67" b="0" i="0" u="none" strike="noStrike" kern="0" cap="none" spc="0" normalizeH="0" baseline="0" noProof="0">
                <a:ln>
                  <a:noFill/>
                </a:ln>
                <a:effectLst/>
                <a:uLnTx/>
                <a:uFillTx/>
              </a:endParaRPr>
            </a:p>
          </p:txBody>
        </p:sp>
        <p:sp>
          <p:nvSpPr>
            <p:cNvPr id="35" name="Oval 20">
              <a:extLst>
                <a:ext uri="{FF2B5EF4-FFF2-40B4-BE49-F238E27FC236}">
                  <a16:creationId xmlns:a16="http://schemas.microsoft.com/office/drawing/2014/main" id="{DFD5351C-B541-498C-A086-2F64522A7C89}"/>
                </a:ext>
              </a:extLst>
            </p:cNvPr>
            <p:cNvSpPr/>
            <p:nvPr/>
          </p:nvSpPr>
          <p:spPr>
            <a:xfrm>
              <a:off x="4236339" y="3181728"/>
              <a:ext cx="614821" cy="61482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chemeClr val="bg2"/>
            </a:solidFill>
            <a:ln cap="flat">
              <a:noFill/>
              <a:prstDash val="solid"/>
            </a:ln>
          </p:spPr>
          <p:txBody>
            <a:bodyPr vert="horz" wrap="square" lIns="121920" tIns="60960" rIns="121920" bIns="60960" anchor="ctr" anchorCtr="1"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219170"/>
              <a:endParaRPr lang="en-IN" sz="1867" kern="0"/>
            </a:p>
          </p:txBody>
        </p:sp>
      </p:grpSp>
      <p:sp>
        <p:nvSpPr>
          <p:cNvPr id="38" name="Rectangle 37">
            <a:extLst>
              <a:ext uri="{FF2B5EF4-FFF2-40B4-BE49-F238E27FC236}">
                <a16:creationId xmlns:a16="http://schemas.microsoft.com/office/drawing/2014/main" id="{FE38F7EB-2A95-468C-B749-1E7BB75E7190}"/>
              </a:ext>
            </a:extLst>
          </p:cNvPr>
          <p:cNvSpPr/>
          <p:nvPr/>
        </p:nvSpPr>
        <p:spPr>
          <a:xfrm>
            <a:off x="1161447" y="3401773"/>
            <a:ext cx="50000" cy="615380"/>
          </a:xfrm>
          <a:prstGeom prst="rect">
            <a:avLst/>
          </a:prstGeom>
          <a:solidFill>
            <a:schemeClr val="tx1"/>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grpSp>
        <p:nvGrpSpPr>
          <p:cNvPr id="39" name="Group 38">
            <a:extLst>
              <a:ext uri="{FF2B5EF4-FFF2-40B4-BE49-F238E27FC236}">
                <a16:creationId xmlns:a16="http://schemas.microsoft.com/office/drawing/2014/main" id="{321AB510-ED20-41DF-9E0B-90B3DF210BC9}"/>
              </a:ext>
            </a:extLst>
          </p:cNvPr>
          <p:cNvGrpSpPr/>
          <p:nvPr/>
        </p:nvGrpSpPr>
        <p:grpSpPr>
          <a:xfrm>
            <a:off x="1076365" y="3608375"/>
            <a:ext cx="246387" cy="202173"/>
            <a:chOff x="4180859" y="3126580"/>
            <a:chExt cx="883690" cy="725116"/>
          </a:xfrm>
        </p:grpSpPr>
        <p:sp>
          <p:nvSpPr>
            <p:cNvPr id="40" name="Freeform 5">
              <a:extLst>
                <a:ext uri="{FF2B5EF4-FFF2-40B4-BE49-F238E27FC236}">
                  <a16:creationId xmlns:a16="http://schemas.microsoft.com/office/drawing/2014/main" id="{B42E1D21-AE36-425E-9C04-31A98E5A41A7}"/>
                </a:ext>
              </a:extLst>
            </p:cNvPr>
            <p:cNvSpPr/>
            <p:nvPr/>
          </p:nvSpPr>
          <p:spPr>
            <a:xfrm rot="10799991">
              <a:off x="4180859" y="3126580"/>
              <a:ext cx="883690" cy="725116"/>
            </a:xfrm>
            <a:custGeom>
              <a:avLst/>
              <a:gdLst>
                <a:gd name="f0" fmla="val 10800000"/>
                <a:gd name="f1" fmla="val 5400000"/>
                <a:gd name="f2" fmla="val 180"/>
                <a:gd name="f3" fmla="val w"/>
                <a:gd name="f4" fmla="val h"/>
                <a:gd name="f5" fmla="val 0"/>
                <a:gd name="f6" fmla="val 1879"/>
                <a:gd name="f7" fmla="val 1625"/>
                <a:gd name="f8" fmla="val 1067"/>
                <a:gd name="f9" fmla="val 1515"/>
                <a:gd name="f10" fmla="val 364"/>
                <a:gd name="f11" fmla="val 812"/>
                <a:gd name="f12" fmla="val 1261"/>
                <a:gd name="f13" fmla="val 618"/>
                <a:gd name="f14" fmla="val 291"/>
                <a:gd name="f15" fmla="val 1044"/>
                <a:gd name="f16" fmla="val 339"/>
                <a:gd name="f17" fmla="val 485"/>
                <a:gd name="f18" fmla="+- 0 0 -90"/>
                <a:gd name="f19" fmla="*/ f3 1 1879"/>
                <a:gd name="f20" fmla="*/ f4 1 1625"/>
                <a:gd name="f21" fmla="+- f7 0 f5"/>
                <a:gd name="f22" fmla="+- f6 0 f5"/>
                <a:gd name="f23" fmla="*/ f18 f0 1"/>
                <a:gd name="f24" fmla="*/ f22 1 1879"/>
                <a:gd name="f25" fmla="*/ f21 1 1625"/>
                <a:gd name="f26" fmla="*/ 1067 f22 1"/>
                <a:gd name="f27" fmla="*/ 0 f21 1"/>
                <a:gd name="f28" fmla="*/ 1879 f22 1"/>
                <a:gd name="f29" fmla="*/ 812 f21 1"/>
                <a:gd name="f30" fmla="*/ 1625 f21 1"/>
                <a:gd name="f31" fmla="*/ 0 f22 1"/>
                <a:gd name="f32" fmla="*/ f23 1 f2"/>
                <a:gd name="f33" fmla="*/ f26 1 1879"/>
                <a:gd name="f34" fmla="*/ f27 1 1625"/>
                <a:gd name="f35" fmla="*/ f28 1 1879"/>
                <a:gd name="f36" fmla="*/ f29 1 1625"/>
                <a:gd name="f37" fmla="*/ f30 1 1625"/>
                <a:gd name="f38" fmla="*/ f31 1 1879"/>
                <a:gd name="f39" fmla="*/ 0 1 f24"/>
                <a:gd name="f40" fmla="*/ f6 1 f24"/>
                <a:gd name="f41" fmla="*/ 0 1 f25"/>
                <a:gd name="f42" fmla="*/ f7 1 f25"/>
                <a:gd name="f43" fmla="+- f32 0 f1"/>
                <a:gd name="f44" fmla="*/ f33 1 f24"/>
                <a:gd name="f45" fmla="*/ f34 1 f25"/>
                <a:gd name="f46" fmla="*/ f35 1 f24"/>
                <a:gd name="f47" fmla="*/ f36 1 f25"/>
                <a:gd name="f48" fmla="*/ f37 1 f25"/>
                <a:gd name="f49" fmla="*/ f38 1 f24"/>
                <a:gd name="f50" fmla="*/ f39 f19 1"/>
                <a:gd name="f51" fmla="*/ f40 f19 1"/>
                <a:gd name="f52" fmla="*/ f42 f20 1"/>
                <a:gd name="f53" fmla="*/ f41 f20 1"/>
                <a:gd name="f54" fmla="*/ f44 f19 1"/>
                <a:gd name="f55" fmla="*/ f45 f20 1"/>
                <a:gd name="f56" fmla="*/ f46 f19 1"/>
                <a:gd name="f57" fmla="*/ f47 f20 1"/>
                <a:gd name="f58" fmla="*/ f48 f20 1"/>
                <a:gd name="f59" fmla="*/ f49 f19 1"/>
              </a:gdLst>
              <a:ahLst/>
              <a:cxnLst>
                <a:cxn ang="3cd4">
                  <a:pos x="hc" y="t"/>
                </a:cxn>
                <a:cxn ang="0">
                  <a:pos x="r" y="vc"/>
                </a:cxn>
                <a:cxn ang="cd4">
                  <a:pos x="hc" y="b"/>
                </a:cxn>
                <a:cxn ang="cd2">
                  <a:pos x="l" y="vc"/>
                </a:cxn>
                <a:cxn ang="f43">
                  <a:pos x="f54" y="f55"/>
                </a:cxn>
                <a:cxn ang="f43">
                  <a:pos x="f56" y="f57"/>
                </a:cxn>
                <a:cxn ang="f43">
                  <a:pos x="f54" y="f58"/>
                </a:cxn>
                <a:cxn ang="f43">
                  <a:pos x="f59" y="f57"/>
                </a:cxn>
                <a:cxn ang="f43">
                  <a:pos x="f54" y="f55"/>
                </a:cxn>
              </a:cxnLst>
              <a:rect l="f50" t="f53" r="f51" b="f52"/>
              <a:pathLst>
                <a:path w="1879" h="1625">
                  <a:moveTo>
                    <a:pt x="f8" y="f5"/>
                  </a:moveTo>
                  <a:cubicBezTo>
                    <a:pt x="f9" y="f5"/>
                    <a:pt x="f6" y="f10"/>
                    <a:pt x="f6" y="f11"/>
                  </a:cubicBezTo>
                  <a:cubicBezTo>
                    <a:pt x="f6" y="f12"/>
                    <a:pt x="f9" y="f7"/>
                    <a:pt x="f8" y="f7"/>
                  </a:cubicBezTo>
                  <a:cubicBezTo>
                    <a:pt x="f13" y="f7"/>
                    <a:pt x="f14" y="f15"/>
                    <a:pt x="f5" y="f11"/>
                  </a:cubicBezTo>
                  <a:cubicBezTo>
                    <a:pt x="f16" y="f17"/>
                    <a:pt x="f13" y="f5"/>
                    <a:pt x="f8" y="f5"/>
                  </a:cubicBezTo>
                  <a:close/>
                </a:path>
              </a:pathLst>
            </a:custGeom>
            <a:solidFill>
              <a:schemeClr val="tx2"/>
            </a:solidFill>
            <a:ln cap="flat">
              <a:noFill/>
              <a:prstDash val="solid"/>
            </a:ln>
          </p:spPr>
          <p:txBody>
            <a:bodyPr vert="horz" wrap="square" lIns="121920" tIns="60960" rIns="121920" bIns="60960" anchor="t" anchorCtr="0"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67" b="0" i="0" u="none" strike="noStrike" kern="0" cap="none" spc="0" normalizeH="0" baseline="0" noProof="0">
                <a:ln>
                  <a:noFill/>
                </a:ln>
                <a:effectLst/>
                <a:uLnTx/>
                <a:uFillTx/>
              </a:endParaRPr>
            </a:p>
          </p:txBody>
        </p:sp>
        <p:sp>
          <p:nvSpPr>
            <p:cNvPr id="41" name="Oval 20">
              <a:extLst>
                <a:ext uri="{FF2B5EF4-FFF2-40B4-BE49-F238E27FC236}">
                  <a16:creationId xmlns:a16="http://schemas.microsoft.com/office/drawing/2014/main" id="{2A7623A3-37A5-4605-B236-4D6A12A48884}"/>
                </a:ext>
              </a:extLst>
            </p:cNvPr>
            <p:cNvSpPr/>
            <p:nvPr/>
          </p:nvSpPr>
          <p:spPr>
            <a:xfrm>
              <a:off x="4236339" y="3181728"/>
              <a:ext cx="614821" cy="61482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chemeClr val="bg2"/>
            </a:solidFill>
            <a:ln cap="flat">
              <a:noFill/>
              <a:prstDash val="solid"/>
            </a:ln>
          </p:spPr>
          <p:txBody>
            <a:bodyPr vert="horz" wrap="square" lIns="121920" tIns="60960" rIns="121920" bIns="60960" anchor="ctr" anchorCtr="1" compatLnSpc="1">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219170"/>
              <a:endParaRPr lang="en-IN" sz="1867" kern="0"/>
            </a:p>
          </p:txBody>
        </p:sp>
      </p:grpSp>
      <p:cxnSp>
        <p:nvCxnSpPr>
          <p:cNvPr id="43" name="Connector: Elbow 42">
            <a:extLst>
              <a:ext uri="{FF2B5EF4-FFF2-40B4-BE49-F238E27FC236}">
                <a16:creationId xmlns:a16="http://schemas.microsoft.com/office/drawing/2014/main" id="{B8669DEE-8553-4492-A7CA-4A63B4F3D5A1}"/>
              </a:ext>
            </a:extLst>
          </p:cNvPr>
          <p:cNvCxnSpPr>
            <a:stCxn id="24" idx="4"/>
            <a:endCxn id="41" idx="3"/>
          </p:cNvCxnSpPr>
          <p:nvPr/>
        </p:nvCxnSpPr>
        <p:spPr>
          <a:xfrm rot="16200000" flipH="1">
            <a:off x="97409" y="2715037"/>
            <a:ext cx="1856547" cy="132303"/>
          </a:xfrm>
          <a:prstGeom prst="bentConnector2">
            <a:avLst/>
          </a:prstGeom>
          <a:ln w="127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AF223FA0-48CD-4F50-BD35-4FB941B702F1}"/>
              </a:ext>
            </a:extLst>
          </p:cNvPr>
          <p:cNvCxnSpPr>
            <a:cxnSpLocks/>
          </p:cNvCxnSpPr>
          <p:nvPr/>
        </p:nvCxnSpPr>
        <p:spPr>
          <a:xfrm>
            <a:off x="959531" y="2292893"/>
            <a:ext cx="116835" cy="0"/>
          </a:xfrm>
          <a:prstGeom prst="line">
            <a:avLst/>
          </a:prstGeom>
          <a:ln w="127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98EBB554-A99A-4CEE-9030-3FA901F80F84}"/>
              </a:ext>
            </a:extLst>
          </p:cNvPr>
          <p:cNvCxnSpPr>
            <a:cxnSpLocks/>
          </p:cNvCxnSpPr>
          <p:nvPr/>
        </p:nvCxnSpPr>
        <p:spPr>
          <a:xfrm>
            <a:off x="959531" y="3001177"/>
            <a:ext cx="116835" cy="0"/>
          </a:xfrm>
          <a:prstGeom prst="line">
            <a:avLst/>
          </a:prstGeom>
          <a:ln w="1270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47" name="Rectangle 46">
            <a:extLst>
              <a:ext uri="{FF2B5EF4-FFF2-40B4-BE49-F238E27FC236}">
                <a16:creationId xmlns:a16="http://schemas.microsoft.com/office/drawing/2014/main" id="{479A60FF-862A-4F69-A815-1395BA3D72C6}"/>
              </a:ext>
            </a:extLst>
          </p:cNvPr>
          <p:cNvSpPr/>
          <p:nvPr/>
        </p:nvSpPr>
        <p:spPr>
          <a:xfrm>
            <a:off x="718862" y="4110055"/>
            <a:ext cx="1346437" cy="1065496"/>
          </a:xfrm>
          <a:prstGeom prst="rect">
            <a:avLst/>
          </a:prstGeom>
          <a:solidFill>
            <a:srgbClr val="21479B"/>
          </a:solidFill>
          <a:ln w="9525" cap="flat" cmpd="sng" algn="ctr">
            <a:noFill/>
            <a:prstDash val="solid"/>
          </a:ln>
          <a:effectLst/>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85"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da-DK" sz="1867" b="1" i="0" u="none" strike="noStrike" kern="0" cap="none" spc="0" normalizeH="0" baseline="0" noProof="0">
              <a:ln>
                <a:noFill/>
              </a:ln>
              <a:solidFill>
                <a:prstClr val="white"/>
              </a:solidFill>
              <a:effectLst/>
              <a:uLnTx/>
              <a:uFillTx/>
              <a:ea typeface="+mn-ea"/>
              <a:cs typeface="Arial" pitchFamily="34"/>
            </a:endParaRPr>
          </a:p>
        </p:txBody>
      </p:sp>
      <p:sp>
        <p:nvSpPr>
          <p:cNvPr id="48" name="Rectangle 47">
            <a:extLst>
              <a:ext uri="{FF2B5EF4-FFF2-40B4-BE49-F238E27FC236}">
                <a16:creationId xmlns:a16="http://schemas.microsoft.com/office/drawing/2014/main" id="{06E17685-54F2-417D-A1EA-47220CF39478}"/>
              </a:ext>
            </a:extLst>
          </p:cNvPr>
          <p:cNvSpPr/>
          <p:nvPr/>
        </p:nvSpPr>
        <p:spPr>
          <a:xfrm>
            <a:off x="718862" y="5276811"/>
            <a:ext cx="1346437" cy="967756"/>
          </a:xfrm>
          <a:prstGeom prst="rect">
            <a:avLst/>
          </a:prstGeom>
          <a:solidFill>
            <a:srgbClr val="21479B"/>
          </a:solidFill>
          <a:ln w="9525" cap="flat" cmpd="sng" algn="ctr">
            <a:noFill/>
            <a:prstDash val="solid"/>
          </a:ln>
          <a:effectLst/>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85"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da-DK" sz="1867" b="1" i="0" u="none" strike="noStrike" kern="0" cap="none" spc="0" normalizeH="0" baseline="0" noProof="0">
              <a:ln>
                <a:noFill/>
              </a:ln>
              <a:solidFill>
                <a:prstClr val="white"/>
              </a:solidFill>
              <a:effectLst/>
              <a:uLnTx/>
              <a:uFillTx/>
              <a:ea typeface="+mn-ea"/>
              <a:cs typeface="Arial" pitchFamily="34"/>
            </a:endParaRPr>
          </a:p>
        </p:txBody>
      </p:sp>
      <p:sp>
        <p:nvSpPr>
          <p:cNvPr id="50" name="Oval 49">
            <a:extLst>
              <a:ext uri="{FF2B5EF4-FFF2-40B4-BE49-F238E27FC236}">
                <a16:creationId xmlns:a16="http://schemas.microsoft.com/office/drawing/2014/main" id="{38348A3C-9AE2-42C6-A1BB-B3D42631D0EB}"/>
              </a:ext>
            </a:extLst>
          </p:cNvPr>
          <p:cNvSpPr/>
          <p:nvPr/>
        </p:nvSpPr>
        <p:spPr>
          <a:xfrm>
            <a:off x="1029231" y="4279953"/>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1" name="Oval 50">
            <a:extLst>
              <a:ext uri="{FF2B5EF4-FFF2-40B4-BE49-F238E27FC236}">
                <a16:creationId xmlns:a16="http://schemas.microsoft.com/office/drawing/2014/main" id="{E6D08930-96E7-4CE2-96AD-7011200C2A51}"/>
              </a:ext>
            </a:extLst>
          </p:cNvPr>
          <p:cNvSpPr/>
          <p:nvPr/>
        </p:nvSpPr>
        <p:spPr>
          <a:xfrm>
            <a:off x="1029231" y="5397840"/>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11426813" y="4110053"/>
            <a:ext cx="50000" cy="1065600"/>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62" name="Rectangle 61">
            <a:extLst>
              <a:ext uri="{FF2B5EF4-FFF2-40B4-BE49-F238E27FC236}">
                <a16:creationId xmlns:a16="http://schemas.microsoft.com/office/drawing/2014/main" id="{C05D70D7-CB2C-44EF-94B7-CC8EA068AFB7}"/>
              </a:ext>
            </a:extLst>
          </p:cNvPr>
          <p:cNvSpPr/>
          <p:nvPr/>
        </p:nvSpPr>
        <p:spPr>
          <a:xfrm>
            <a:off x="11426813" y="5276640"/>
            <a:ext cx="50000" cy="883200"/>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67" name="Graphic 65">
            <a:extLst>
              <a:ext uri="{FF2B5EF4-FFF2-40B4-BE49-F238E27FC236}">
                <a16:creationId xmlns:a16="http://schemas.microsoft.com/office/drawing/2014/main" id="{6C54DCD2-7FB4-40B9-A651-9E6038F8336E}"/>
              </a:ext>
            </a:extLst>
          </p:cNvPr>
          <p:cNvSpPr/>
          <p:nvPr/>
        </p:nvSpPr>
        <p:spPr>
          <a:xfrm>
            <a:off x="829431" y="1532207"/>
            <a:ext cx="260200" cy="237584"/>
          </a:xfrm>
          <a:custGeom>
            <a:avLst/>
            <a:gdLst>
              <a:gd name="connsiteX0" fmla="*/ 80963 w 438150"/>
              <a:gd name="connsiteY0" fmla="*/ 0 h 400068"/>
              <a:gd name="connsiteX1" fmla="*/ 38100 w 438150"/>
              <a:gd name="connsiteY1" fmla="*/ 42863 h 400068"/>
              <a:gd name="connsiteX2" fmla="*/ 80963 w 438150"/>
              <a:gd name="connsiteY2" fmla="*/ 85725 h 400068"/>
              <a:gd name="connsiteX3" fmla="*/ 123825 w 438150"/>
              <a:gd name="connsiteY3" fmla="*/ 42863 h 400068"/>
              <a:gd name="connsiteX4" fmla="*/ 80963 w 438150"/>
              <a:gd name="connsiteY4" fmla="*/ 0 h 400068"/>
              <a:gd name="connsiteX5" fmla="*/ 357188 w 438150"/>
              <a:gd name="connsiteY5" fmla="*/ 0 h 400068"/>
              <a:gd name="connsiteX6" fmla="*/ 314325 w 438150"/>
              <a:gd name="connsiteY6" fmla="*/ 42863 h 400068"/>
              <a:gd name="connsiteX7" fmla="*/ 357188 w 438150"/>
              <a:gd name="connsiteY7" fmla="*/ 85725 h 400068"/>
              <a:gd name="connsiteX8" fmla="*/ 400050 w 438150"/>
              <a:gd name="connsiteY8" fmla="*/ 42863 h 400068"/>
              <a:gd name="connsiteX9" fmla="*/ 357188 w 438150"/>
              <a:gd name="connsiteY9" fmla="*/ 0 h 400068"/>
              <a:gd name="connsiteX10" fmla="*/ 80963 w 438150"/>
              <a:gd name="connsiteY10" fmla="*/ 19050 h 400068"/>
              <a:gd name="connsiteX11" fmla="*/ 104775 w 438150"/>
              <a:gd name="connsiteY11" fmla="*/ 42863 h 400068"/>
              <a:gd name="connsiteX12" fmla="*/ 80963 w 438150"/>
              <a:gd name="connsiteY12" fmla="*/ 66675 h 400068"/>
              <a:gd name="connsiteX13" fmla="*/ 57150 w 438150"/>
              <a:gd name="connsiteY13" fmla="*/ 42863 h 400068"/>
              <a:gd name="connsiteX14" fmla="*/ 80963 w 438150"/>
              <a:gd name="connsiteY14" fmla="*/ 19050 h 400068"/>
              <a:gd name="connsiteX15" fmla="*/ 357188 w 438150"/>
              <a:gd name="connsiteY15" fmla="*/ 19050 h 400068"/>
              <a:gd name="connsiteX16" fmla="*/ 381000 w 438150"/>
              <a:gd name="connsiteY16" fmla="*/ 42863 h 400068"/>
              <a:gd name="connsiteX17" fmla="*/ 357188 w 438150"/>
              <a:gd name="connsiteY17" fmla="*/ 66675 h 400068"/>
              <a:gd name="connsiteX18" fmla="*/ 333375 w 438150"/>
              <a:gd name="connsiteY18" fmla="*/ 42863 h 400068"/>
              <a:gd name="connsiteX19" fmla="*/ 357188 w 438150"/>
              <a:gd name="connsiteY19" fmla="*/ 19050 h 400068"/>
              <a:gd name="connsiteX20" fmla="*/ 57131 w 438150"/>
              <a:gd name="connsiteY20" fmla="*/ 95231 h 400068"/>
              <a:gd name="connsiteX21" fmla="*/ 0 w 438150"/>
              <a:gd name="connsiteY21" fmla="*/ 152381 h 400068"/>
              <a:gd name="connsiteX22" fmla="*/ 0 w 438150"/>
              <a:gd name="connsiteY22" fmla="*/ 257175 h 400068"/>
              <a:gd name="connsiteX23" fmla="*/ 28575 w 438150"/>
              <a:gd name="connsiteY23" fmla="*/ 285750 h 400068"/>
              <a:gd name="connsiteX24" fmla="*/ 38100 w 438150"/>
              <a:gd name="connsiteY24" fmla="*/ 283964 h 400068"/>
              <a:gd name="connsiteX25" fmla="*/ 38100 w 438150"/>
              <a:gd name="connsiteY25" fmla="*/ 290103 h 400068"/>
              <a:gd name="connsiteX26" fmla="*/ 11348 w 438150"/>
              <a:gd name="connsiteY26" fmla="*/ 361448 h 400068"/>
              <a:gd name="connsiteX27" fmla="*/ 28054 w 438150"/>
              <a:gd name="connsiteY27" fmla="*/ 398227 h 400068"/>
              <a:gd name="connsiteX28" fmla="*/ 28073 w 438150"/>
              <a:gd name="connsiteY28" fmla="*/ 398227 h 400068"/>
              <a:gd name="connsiteX29" fmla="*/ 28091 w 438150"/>
              <a:gd name="connsiteY29" fmla="*/ 398245 h 400068"/>
              <a:gd name="connsiteX30" fmla="*/ 38100 w 438150"/>
              <a:gd name="connsiteY30" fmla="*/ 400069 h 400068"/>
              <a:gd name="connsiteX31" fmla="*/ 64852 w 438150"/>
              <a:gd name="connsiteY31" fmla="*/ 381521 h 400068"/>
              <a:gd name="connsiteX32" fmla="*/ 64852 w 438150"/>
              <a:gd name="connsiteY32" fmla="*/ 381502 h 400068"/>
              <a:gd name="connsiteX33" fmla="*/ 76200 w 438150"/>
              <a:gd name="connsiteY33" fmla="*/ 351234 h 400068"/>
              <a:gd name="connsiteX34" fmla="*/ 76200 w 438150"/>
              <a:gd name="connsiteY34" fmla="*/ 371475 h 400068"/>
              <a:gd name="connsiteX35" fmla="*/ 104775 w 438150"/>
              <a:gd name="connsiteY35" fmla="*/ 400050 h 400068"/>
              <a:gd name="connsiteX36" fmla="*/ 133350 w 438150"/>
              <a:gd name="connsiteY36" fmla="*/ 371475 h 400068"/>
              <a:gd name="connsiteX37" fmla="*/ 133350 w 438150"/>
              <a:gd name="connsiteY37" fmla="*/ 197048 h 400068"/>
              <a:gd name="connsiteX38" fmla="*/ 137703 w 438150"/>
              <a:gd name="connsiteY38" fmla="*/ 204676 h 400068"/>
              <a:gd name="connsiteX39" fmla="*/ 149740 w 438150"/>
              <a:gd name="connsiteY39" fmla="*/ 216061 h 400068"/>
              <a:gd name="connsiteX40" fmla="*/ 149051 w 438150"/>
              <a:gd name="connsiteY40" fmla="*/ 215689 h 400068"/>
              <a:gd name="connsiteX41" fmla="*/ 196435 w 438150"/>
              <a:gd name="connsiteY41" fmla="*/ 244469 h 400068"/>
              <a:gd name="connsiteX42" fmla="*/ 196788 w 438150"/>
              <a:gd name="connsiteY42" fmla="*/ 244655 h 400068"/>
              <a:gd name="connsiteX43" fmla="*/ 207318 w 438150"/>
              <a:gd name="connsiteY43" fmla="*/ 247390 h 400068"/>
              <a:gd name="connsiteX44" fmla="*/ 209513 w 438150"/>
              <a:gd name="connsiteY44" fmla="*/ 247650 h 400068"/>
              <a:gd name="connsiteX45" fmla="*/ 209587 w 438150"/>
              <a:gd name="connsiteY45" fmla="*/ 247650 h 400068"/>
              <a:gd name="connsiteX46" fmla="*/ 209680 w 438150"/>
              <a:gd name="connsiteY46" fmla="*/ 247631 h 400068"/>
              <a:gd name="connsiteX47" fmla="*/ 215187 w 438150"/>
              <a:gd name="connsiteY47" fmla="*/ 246999 h 400068"/>
              <a:gd name="connsiteX48" fmla="*/ 216582 w 438150"/>
              <a:gd name="connsiteY48" fmla="*/ 246720 h 400068"/>
              <a:gd name="connsiteX49" fmla="*/ 221642 w 438150"/>
              <a:gd name="connsiteY49" fmla="*/ 244897 h 400068"/>
              <a:gd name="connsiteX50" fmla="*/ 222312 w 438150"/>
              <a:gd name="connsiteY50" fmla="*/ 244655 h 400068"/>
              <a:gd name="connsiteX51" fmla="*/ 221828 w 438150"/>
              <a:gd name="connsiteY51" fmla="*/ 244878 h 400068"/>
              <a:gd name="connsiteX52" fmla="*/ 288503 w 438150"/>
              <a:gd name="connsiteY52" fmla="*/ 216303 h 400068"/>
              <a:gd name="connsiteX53" fmla="*/ 289024 w 438150"/>
              <a:gd name="connsiteY53" fmla="*/ 216061 h 400068"/>
              <a:gd name="connsiteX54" fmla="*/ 296838 w 438150"/>
              <a:gd name="connsiteY54" fmla="*/ 210313 h 400068"/>
              <a:gd name="connsiteX55" fmla="*/ 296856 w 438150"/>
              <a:gd name="connsiteY55" fmla="*/ 210276 h 400068"/>
              <a:gd name="connsiteX56" fmla="*/ 297842 w 438150"/>
              <a:gd name="connsiteY56" fmla="*/ 209066 h 400068"/>
              <a:gd name="connsiteX57" fmla="*/ 298084 w 438150"/>
              <a:gd name="connsiteY57" fmla="*/ 208694 h 400068"/>
              <a:gd name="connsiteX58" fmla="*/ 298438 w 438150"/>
              <a:gd name="connsiteY58" fmla="*/ 208136 h 400068"/>
              <a:gd name="connsiteX59" fmla="*/ 299331 w 438150"/>
              <a:gd name="connsiteY59" fmla="*/ 206629 h 400068"/>
              <a:gd name="connsiteX60" fmla="*/ 302196 w 438150"/>
              <a:gd name="connsiteY60" fmla="*/ 201774 h 400068"/>
              <a:gd name="connsiteX61" fmla="*/ 304800 w 438150"/>
              <a:gd name="connsiteY61" fmla="*/ 197309 h 400068"/>
              <a:gd name="connsiteX62" fmla="*/ 304800 w 438150"/>
              <a:gd name="connsiteY62" fmla="*/ 371475 h 400068"/>
              <a:gd name="connsiteX63" fmla="*/ 333375 w 438150"/>
              <a:gd name="connsiteY63" fmla="*/ 400050 h 400068"/>
              <a:gd name="connsiteX64" fmla="*/ 352425 w 438150"/>
              <a:gd name="connsiteY64" fmla="*/ 392553 h 400068"/>
              <a:gd name="connsiteX65" fmla="*/ 371475 w 438150"/>
              <a:gd name="connsiteY65" fmla="*/ 400050 h 400068"/>
              <a:gd name="connsiteX66" fmla="*/ 400050 w 438150"/>
              <a:gd name="connsiteY66" fmla="*/ 371475 h 400068"/>
              <a:gd name="connsiteX67" fmla="*/ 400050 w 438150"/>
              <a:gd name="connsiteY67" fmla="*/ 283964 h 400068"/>
              <a:gd name="connsiteX68" fmla="*/ 409575 w 438150"/>
              <a:gd name="connsiteY68" fmla="*/ 285750 h 400068"/>
              <a:gd name="connsiteX69" fmla="*/ 438150 w 438150"/>
              <a:gd name="connsiteY69" fmla="*/ 257175 h 400068"/>
              <a:gd name="connsiteX70" fmla="*/ 438150 w 438150"/>
              <a:gd name="connsiteY70" fmla="*/ 152400 h 400068"/>
              <a:gd name="connsiteX71" fmla="*/ 381019 w 438150"/>
              <a:gd name="connsiteY71" fmla="*/ 95250 h 400068"/>
              <a:gd name="connsiteX72" fmla="*/ 320427 w 438150"/>
              <a:gd name="connsiteY72" fmla="*/ 95231 h 400068"/>
              <a:gd name="connsiteX73" fmla="*/ 292782 w 438150"/>
              <a:gd name="connsiteY73" fmla="*/ 103417 h 400068"/>
              <a:gd name="connsiteX74" fmla="*/ 281992 w 438150"/>
              <a:gd name="connsiteY74" fmla="*/ 117444 h 400068"/>
              <a:gd name="connsiteX75" fmla="*/ 255687 w 438150"/>
              <a:gd name="connsiteY75" fmla="*/ 168566 h 400068"/>
              <a:gd name="connsiteX76" fmla="*/ 211355 w 438150"/>
              <a:gd name="connsiteY76" fmla="*/ 186649 h 400068"/>
              <a:gd name="connsiteX77" fmla="*/ 183282 w 438150"/>
              <a:gd name="connsiteY77" fmla="*/ 169218 h 400068"/>
              <a:gd name="connsiteX78" fmla="*/ 153963 w 438150"/>
              <a:gd name="connsiteY78" fmla="*/ 117909 h 400068"/>
              <a:gd name="connsiteX79" fmla="*/ 154353 w 438150"/>
              <a:gd name="connsiteY79" fmla="*/ 118672 h 400068"/>
              <a:gd name="connsiteX80" fmla="*/ 114895 w 438150"/>
              <a:gd name="connsiteY80" fmla="*/ 95231 h 400068"/>
              <a:gd name="connsiteX81" fmla="*/ 57131 w 438150"/>
              <a:gd name="connsiteY81" fmla="*/ 95231 h 400068"/>
              <a:gd name="connsiteX82" fmla="*/ 57131 w 438150"/>
              <a:gd name="connsiteY82" fmla="*/ 114281 h 400068"/>
              <a:gd name="connsiteX83" fmla="*/ 114895 w 438150"/>
              <a:gd name="connsiteY83" fmla="*/ 114281 h 400068"/>
              <a:gd name="connsiteX84" fmla="*/ 137015 w 438150"/>
              <a:gd name="connsiteY84" fmla="*/ 126597 h 400068"/>
              <a:gd name="connsiteX85" fmla="*/ 137201 w 438150"/>
              <a:gd name="connsiteY85" fmla="*/ 126988 h 400068"/>
              <a:gd name="connsiteX86" fmla="*/ 169143 w 438150"/>
              <a:gd name="connsiteY86" fmla="*/ 182854 h 400068"/>
              <a:gd name="connsiteX87" fmla="*/ 205160 w 438150"/>
              <a:gd name="connsiteY87" fmla="*/ 205215 h 400068"/>
              <a:gd name="connsiteX88" fmla="*/ 205253 w 438150"/>
              <a:gd name="connsiteY88" fmla="*/ 205271 h 400068"/>
              <a:gd name="connsiteX89" fmla="*/ 213420 w 438150"/>
              <a:gd name="connsiteY89" fmla="*/ 210350 h 400068"/>
              <a:gd name="connsiteX90" fmla="*/ 213810 w 438150"/>
              <a:gd name="connsiteY90" fmla="*/ 210555 h 400068"/>
              <a:gd name="connsiteX91" fmla="*/ 218070 w 438150"/>
              <a:gd name="connsiteY91" fmla="*/ 223335 h 400068"/>
              <a:gd name="connsiteX92" fmla="*/ 212620 w 438150"/>
              <a:gd name="connsiteY92" fmla="*/ 228023 h 400068"/>
              <a:gd name="connsiteX93" fmla="*/ 211968 w 438150"/>
              <a:gd name="connsiteY93" fmla="*/ 228265 h 400068"/>
              <a:gd name="connsiteX94" fmla="*/ 209587 w 438150"/>
              <a:gd name="connsiteY94" fmla="*/ 228600 h 400068"/>
              <a:gd name="connsiteX95" fmla="*/ 209531 w 438150"/>
              <a:gd name="connsiteY95" fmla="*/ 228600 h 400068"/>
              <a:gd name="connsiteX96" fmla="*/ 205383 w 438150"/>
              <a:gd name="connsiteY96" fmla="*/ 227614 h 400068"/>
              <a:gd name="connsiteX97" fmla="*/ 158614 w 438150"/>
              <a:gd name="connsiteY97" fmla="*/ 199188 h 400068"/>
              <a:gd name="connsiteX98" fmla="*/ 158260 w 438150"/>
              <a:gd name="connsiteY98" fmla="*/ 199020 h 400068"/>
              <a:gd name="connsiteX99" fmla="*/ 154260 w 438150"/>
              <a:gd name="connsiteY99" fmla="*/ 195225 h 400068"/>
              <a:gd name="connsiteX100" fmla="*/ 132531 w 438150"/>
              <a:gd name="connsiteY100" fmla="*/ 157200 h 400068"/>
              <a:gd name="connsiteX101" fmla="*/ 132252 w 438150"/>
              <a:gd name="connsiteY101" fmla="*/ 157349 h 400068"/>
              <a:gd name="connsiteX102" fmla="*/ 123676 w 438150"/>
              <a:gd name="connsiteY102" fmla="*/ 152270 h 400068"/>
              <a:gd name="connsiteX103" fmla="*/ 114300 w 438150"/>
              <a:gd name="connsiteY103" fmla="*/ 161925 h 400068"/>
              <a:gd name="connsiteX104" fmla="*/ 114300 w 438150"/>
              <a:gd name="connsiteY104" fmla="*/ 371475 h 400068"/>
              <a:gd name="connsiteX105" fmla="*/ 104775 w 438150"/>
              <a:gd name="connsiteY105" fmla="*/ 381000 h 400068"/>
              <a:gd name="connsiteX106" fmla="*/ 95250 w 438150"/>
              <a:gd name="connsiteY106" fmla="*/ 371475 h 400068"/>
              <a:gd name="connsiteX107" fmla="*/ 95250 w 438150"/>
              <a:gd name="connsiteY107" fmla="*/ 257175 h 400068"/>
              <a:gd name="connsiteX108" fmla="*/ 85860 w 438150"/>
              <a:gd name="connsiteY108" fmla="*/ 247515 h 400068"/>
              <a:gd name="connsiteX109" fmla="*/ 76200 w 438150"/>
              <a:gd name="connsiteY109" fmla="*/ 256906 h 400068"/>
              <a:gd name="connsiteX110" fmla="*/ 76200 w 438150"/>
              <a:gd name="connsiteY110" fmla="*/ 257175 h 400068"/>
              <a:gd name="connsiteX111" fmla="*/ 76200 w 438150"/>
              <a:gd name="connsiteY111" fmla="*/ 295275 h 400068"/>
              <a:gd name="connsiteX112" fmla="*/ 75605 w 438150"/>
              <a:gd name="connsiteY112" fmla="*/ 298624 h 400068"/>
              <a:gd name="connsiteX113" fmla="*/ 47030 w 438150"/>
              <a:gd name="connsiteY113" fmla="*/ 374805 h 400068"/>
              <a:gd name="connsiteX114" fmla="*/ 38100 w 438150"/>
              <a:gd name="connsiteY114" fmla="*/ 381019 h 400068"/>
              <a:gd name="connsiteX115" fmla="*/ 34751 w 438150"/>
              <a:gd name="connsiteY115" fmla="*/ 380386 h 400068"/>
              <a:gd name="connsiteX116" fmla="*/ 34733 w 438150"/>
              <a:gd name="connsiteY116" fmla="*/ 380386 h 400068"/>
              <a:gd name="connsiteX117" fmla="*/ 29170 w 438150"/>
              <a:gd name="connsiteY117" fmla="*/ 368126 h 400068"/>
              <a:gd name="connsiteX118" fmla="*/ 57150 w 438150"/>
              <a:gd name="connsiteY118" fmla="*/ 293563 h 400068"/>
              <a:gd name="connsiteX119" fmla="*/ 57150 w 438150"/>
              <a:gd name="connsiteY119" fmla="*/ 257175 h 400068"/>
              <a:gd name="connsiteX120" fmla="*/ 57150 w 438150"/>
              <a:gd name="connsiteY120" fmla="*/ 161925 h 400068"/>
              <a:gd name="connsiteX121" fmla="*/ 47755 w 438150"/>
              <a:gd name="connsiteY121" fmla="*/ 152270 h 400068"/>
              <a:gd name="connsiteX122" fmla="*/ 47476 w 438150"/>
              <a:gd name="connsiteY122" fmla="*/ 152270 h 400068"/>
              <a:gd name="connsiteX123" fmla="*/ 38100 w 438150"/>
              <a:gd name="connsiteY123" fmla="*/ 161925 h 400068"/>
              <a:gd name="connsiteX124" fmla="*/ 38100 w 438150"/>
              <a:gd name="connsiteY124" fmla="*/ 257175 h 400068"/>
              <a:gd name="connsiteX125" fmla="*/ 28575 w 438150"/>
              <a:gd name="connsiteY125" fmla="*/ 266700 h 400068"/>
              <a:gd name="connsiteX126" fmla="*/ 19050 w 438150"/>
              <a:gd name="connsiteY126" fmla="*/ 257175 h 400068"/>
              <a:gd name="connsiteX127" fmla="*/ 19050 w 438150"/>
              <a:gd name="connsiteY127" fmla="*/ 152381 h 400068"/>
              <a:gd name="connsiteX128" fmla="*/ 57131 w 438150"/>
              <a:gd name="connsiteY128" fmla="*/ 114281 h 400068"/>
              <a:gd name="connsiteX129" fmla="*/ 320427 w 438150"/>
              <a:gd name="connsiteY129" fmla="*/ 114281 h 400068"/>
              <a:gd name="connsiteX130" fmla="*/ 381000 w 438150"/>
              <a:gd name="connsiteY130" fmla="*/ 114300 h 400068"/>
              <a:gd name="connsiteX131" fmla="*/ 381019 w 438150"/>
              <a:gd name="connsiteY131" fmla="*/ 114300 h 400068"/>
              <a:gd name="connsiteX132" fmla="*/ 419100 w 438150"/>
              <a:gd name="connsiteY132" fmla="*/ 152400 h 400068"/>
              <a:gd name="connsiteX133" fmla="*/ 419100 w 438150"/>
              <a:gd name="connsiteY133" fmla="*/ 257175 h 400068"/>
              <a:gd name="connsiteX134" fmla="*/ 409575 w 438150"/>
              <a:gd name="connsiteY134" fmla="*/ 266700 h 400068"/>
              <a:gd name="connsiteX135" fmla="*/ 400050 w 438150"/>
              <a:gd name="connsiteY135" fmla="*/ 257175 h 400068"/>
              <a:gd name="connsiteX136" fmla="*/ 400050 w 438150"/>
              <a:gd name="connsiteY136" fmla="*/ 161925 h 400068"/>
              <a:gd name="connsiteX137" fmla="*/ 390655 w 438150"/>
              <a:gd name="connsiteY137" fmla="*/ 152270 h 400068"/>
              <a:gd name="connsiteX138" fmla="*/ 390376 w 438150"/>
              <a:gd name="connsiteY138" fmla="*/ 152270 h 400068"/>
              <a:gd name="connsiteX139" fmla="*/ 381000 w 438150"/>
              <a:gd name="connsiteY139" fmla="*/ 161925 h 400068"/>
              <a:gd name="connsiteX140" fmla="*/ 381000 w 438150"/>
              <a:gd name="connsiteY140" fmla="*/ 257175 h 400068"/>
              <a:gd name="connsiteX141" fmla="*/ 381000 w 438150"/>
              <a:gd name="connsiteY141" fmla="*/ 371475 h 400068"/>
              <a:gd name="connsiteX142" fmla="*/ 371475 w 438150"/>
              <a:gd name="connsiteY142" fmla="*/ 381000 h 400068"/>
              <a:gd name="connsiteX143" fmla="*/ 361950 w 438150"/>
              <a:gd name="connsiteY143" fmla="*/ 371475 h 400068"/>
              <a:gd name="connsiteX144" fmla="*/ 361950 w 438150"/>
              <a:gd name="connsiteY144" fmla="*/ 257175 h 400068"/>
              <a:gd name="connsiteX145" fmla="*/ 352560 w 438150"/>
              <a:gd name="connsiteY145" fmla="*/ 247515 h 400068"/>
              <a:gd name="connsiteX146" fmla="*/ 342900 w 438150"/>
              <a:gd name="connsiteY146" fmla="*/ 256906 h 400068"/>
              <a:gd name="connsiteX147" fmla="*/ 342900 w 438150"/>
              <a:gd name="connsiteY147" fmla="*/ 257175 h 400068"/>
              <a:gd name="connsiteX148" fmla="*/ 342900 w 438150"/>
              <a:gd name="connsiteY148" fmla="*/ 371475 h 400068"/>
              <a:gd name="connsiteX149" fmla="*/ 333375 w 438150"/>
              <a:gd name="connsiteY149" fmla="*/ 381000 h 400068"/>
              <a:gd name="connsiteX150" fmla="*/ 323850 w 438150"/>
              <a:gd name="connsiteY150" fmla="*/ 371475 h 400068"/>
              <a:gd name="connsiteX151" fmla="*/ 323850 w 438150"/>
              <a:gd name="connsiteY151" fmla="*/ 162744 h 400068"/>
              <a:gd name="connsiteX152" fmla="*/ 320353 w 438150"/>
              <a:gd name="connsiteY152" fmla="*/ 154409 h 400068"/>
              <a:gd name="connsiteX153" fmla="*/ 319813 w 438150"/>
              <a:gd name="connsiteY153" fmla="*/ 154000 h 400068"/>
              <a:gd name="connsiteX154" fmla="*/ 319590 w 438150"/>
              <a:gd name="connsiteY154" fmla="*/ 153851 h 400068"/>
              <a:gd name="connsiteX155" fmla="*/ 319422 w 438150"/>
              <a:gd name="connsiteY155" fmla="*/ 153758 h 400068"/>
              <a:gd name="connsiteX156" fmla="*/ 318753 w 438150"/>
              <a:gd name="connsiteY156" fmla="*/ 153367 h 400068"/>
              <a:gd name="connsiteX157" fmla="*/ 318157 w 438150"/>
              <a:gd name="connsiteY157" fmla="*/ 153070 h 400068"/>
              <a:gd name="connsiteX158" fmla="*/ 318027 w 438150"/>
              <a:gd name="connsiteY158" fmla="*/ 153014 h 400068"/>
              <a:gd name="connsiteX159" fmla="*/ 317264 w 438150"/>
              <a:gd name="connsiteY159" fmla="*/ 152735 h 400068"/>
              <a:gd name="connsiteX160" fmla="*/ 317004 w 438150"/>
              <a:gd name="connsiteY160" fmla="*/ 152660 h 400068"/>
              <a:gd name="connsiteX161" fmla="*/ 316353 w 438150"/>
              <a:gd name="connsiteY161" fmla="*/ 152493 h 400068"/>
              <a:gd name="connsiteX162" fmla="*/ 316223 w 438150"/>
              <a:gd name="connsiteY162" fmla="*/ 152474 h 400068"/>
              <a:gd name="connsiteX163" fmla="*/ 315404 w 438150"/>
              <a:gd name="connsiteY163" fmla="*/ 152344 h 400068"/>
              <a:gd name="connsiteX164" fmla="*/ 315385 w 438150"/>
              <a:gd name="connsiteY164" fmla="*/ 152344 h 400068"/>
              <a:gd name="connsiteX165" fmla="*/ 314176 w 438150"/>
              <a:gd name="connsiteY165" fmla="*/ 152270 h 400068"/>
              <a:gd name="connsiteX166" fmla="*/ 305600 w 438150"/>
              <a:gd name="connsiteY166" fmla="*/ 157981 h 400068"/>
              <a:gd name="connsiteX167" fmla="*/ 294103 w 438150"/>
              <a:gd name="connsiteY167" fmla="*/ 177831 h 400068"/>
              <a:gd name="connsiteX168" fmla="*/ 285769 w 438150"/>
              <a:gd name="connsiteY168" fmla="*/ 192137 h 400068"/>
              <a:gd name="connsiteX169" fmla="*/ 282959 w 438150"/>
              <a:gd name="connsiteY169" fmla="*/ 196900 h 400068"/>
              <a:gd name="connsiteX170" fmla="*/ 282625 w 438150"/>
              <a:gd name="connsiteY170" fmla="*/ 197476 h 400068"/>
              <a:gd name="connsiteX171" fmla="*/ 280597 w 438150"/>
              <a:gd name="connsiteY171" fmla="*/ 198965 h 400068"/>
              <a:gd name="connsiteX172" fmla="*/ 237920 w 438150"/>
              <a:gd name="connsiteY172" fmla="*/ 217252 h 400068"/>
              <a:gd name="connsiteX173" fmla="*/ 230219 w 438150"/>
              <a:gd name="connsiteY173" fmla="*/ 199523 h 400068"/>
              <a:gd name="connsiteX174" fmla="*/ 266142 w 438150"/>
              <a:gd name="connsiteY174" fmla="*/ 184863 h 400068"/>
              <a:gd name="connsiteX175" fmla="*/ 271035 w 438150"/>
              <a:gd name="connsiteY175" fmla="*/ 180361 h 400068"/>
              <a:gd name="connsiteX176" fmla="*/ 298810 w 438150"/>
              <a:gd name="connsiteY176" fmla="*/ 126411 h 400068"/>
              <a:gd name="connsiteX177" fmla="*/ 298810 w 438150"/>
              <a:gd name="connsiteY177" fmla="*/ 126392 h 400068"/>
              <a:gd name="connsiteX178" fmla="*/ 304595 w 438150"/>
              <a:gd name="connsiteY178" fmla="*/ 118356 h 400068"/>
              <a:gd name="connsiteX179" fmla="*/ 320427 w 438150"/>
              <a:gd name="connsiteY179" fmla="*/ 114281 h 40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8150" h="400068">
                <a:moveTo>
                  <a:pt x="80963" y="0"/>
                </a:moveTo>
                <a:cubicBezTo>
                  <a:pt x="57403" y="0"/>
                  <a:pt x="38100" y="19303"/>
                  <a:pt x="38100" y="42863"/>
                </a:cubicBezTo>
                <a:cubicBezTo>
                  <a:pt x="38100" y="66422"/>
                  <a:pt x="57403" y="85725"/>
                  <a:pt x="80963" y="85725"/>
                </a:cubicBezTo>
                <a:cubicBezTo>
                  <a:pt x="104522" y="85725"/>
                  <a:pt x="123825" y="66422"/>
                  <a:pt x="123825" y="42863"/>
                </a:cubicBezTo>
                <a:cubicBezTo>
                  <a:pt x="123825" y="19303"/>
                  <a:pt x="104522" y="0"/>
                  <a:pt x="80963" y="0"/>
                </a:cubicBezTo>
                <a:close/>
                <a:moveTo>
                  <a:pt x="357188" y="0"/>
                </a:moveTo>
                <a:cubicBezTo>
                  <a:pt x="333628" y="0"/>
                  <a:pt x="314325" y="19303"/>
                  <a:pt x="314325" y="42863"/>
                </a:cubicBezTo>
                <a:cubicBezTo>
                  <a:pt x="314325" y="66422"/>
                  <a:pt x="333628" y="85725"/>
                  <a:pt x="357188" y="85725"/>
                </a:cubicBezTo>
                <a:cubicBezTo>
                  <a:pt x="380747" y="85725"/>
                  <a:pt x="400050" y="66422"/>
                  <a:pt x="400050" y="42863"/>
                </a:cubicBezTo>
                <a:cubicBezTo>
                  <a:pt x="400050" y="19303"/>
                  <a:pt x="380747" y="0"/>
                  <a:pt x="357188" y="0"/>
                </a:cubicBezTo>
                <a:close/>
                <a:moveTo>
                  <a:pt x="80963" y="19050"/>
                </a:moveTo>
                <a:cubicBezTo>
                  <a:pt x="94227" y="19050"/>
                  <a:pt x="104775" y="29598"/>
                  <a:pt x="104775" y="42863"/>
                </a:cubicBezTo>
                <a:cubicBezTo>
                  <a:pt x="104775" y="56127"/>
                  <a:pt x="94227" y="66675"/>
                  <a:pt x="80963" y="66675"/>
                </a:cubicBezTo>
                <a:cubicBezTo>
                  <a:pt x="67698" y="66675"/>
                  <a:pt x="57150" y="56127"/>
                  <a:pt x="57150" y="42863"/>
                </a:cubicBezTo>
                <a:cubicBezTo>
                  <a:pt x="57150" y="29598"/>
                  <a:pt x="67698" y="19050"/>
                  <a:pt x="80963" y="19050"/>
                </a:cubicBezTo>
                <a:close/>
                <a:moveTo>
                  <a:pt x="357188" y="19050"/>
                </a:moveTo>
                <a:cubicBezTo>
                  <a:pt x="370452" y="19050"/>
                  <a:pt x="381000" y="29598"/>
                  <a:pt x="381000" y="42863"/>
                </a:cubicBezTo>
                <a:cubicBezTo>
                  <a:pt x="381000" y="56127"/>
                  <a:pt x="370452" y="66675"/>
                  <a:pt x="357188" y="66675"/>
                </a:cubicBezTo>
                <a:cubicBezTo>
                  <a:pt x="343923" y="66675"/>
                  <a:pt x="333375" y="56127"/>
                  <a:pt x="333375" y="42863"/>
                </a:cubicBezTo>
                <a:cubicBezTo>
                  <a:pt x="333375" y="29598"/>
                  <a:pt x="343923" y="19050"/>
                  <a:pt x="357188" y="19050"/>
                </a:cubicBezTo>
                <a:close/>
                <a:moveTo>
                  <a:pt x="57131" y="95231"/>
                </a:moveTo>
                <a:cubicBezTo>
                  <a:pt x="25683" y="95231"/>
                  <a:pt x="0" y="120938"/>
                  <a:pt x="0" y="152381"/>
                </a:cubicBezTo>
                <a:lnTo>
                  <a:pt x="0" y="257175"/>
                </a:lnTo>
                <a:cubicBezTo>
                  <a:pt x="0" y="272843"/>
                  <a:pt x="12907" y="285750"/>
                  <a:pt x="28575" y="285750"/>
                </a:cubicBezTo>
                <a:cubicBezTo>
                  <a:pt x="31926" y="285750"/>
                  <a:pt x="35101" y="285046"/>
                  <a:pt x="38100" y="283964"/>
                </a:cubicBezTo>
                <a:lnTo>
                  <a:pt x="38100" y="290103"/>
                </a:lnTo>
                <a:lnTo>
                  <a:pt x="11348" y="361448"/>
                </a:lnTo>
                <a:cubicBezTo>
                  <a:pt x="5842" y="376121"/>
                  <a:pt x="13399" y="392714"/>
                  <a:pt x="28054" y="398227"/>
                </a:cubicBezTo>
                <a:lnTo>
                  <a:pt x="28073" y="398227"/>
                </a:lnTo>
                <a:lnTo>
                  <a:pt x="28091" y="398245"/>
                </a:lnTo>
                <a:cubicBezTo>
                  <a:pt x="31346" y="399457"/>
                  <a:pt x="34736" y="400069"/>
                  <a:pt x="38100" y="400069"/>
                </a:cubicBezTo>
                <a:cubicBezTo>
                  <a:pt x="49704" y="400069"/>
                  <a:pt x="60574" y="392895"/>
                  <a:pt x="64852" y="381521"/>
                </a:cubicBezTo>
                <a:lnTo>
                  <a:pt x="64852" y="381502"/>
                </a:lnTo>
                <a:lnTo>
                  <a:pt x="76200" y="351234"/>
                </a:lnTo>
                <a:lnTo>
                  <a:pt x="76200" y="371475"/>
                </a:lnTo>
                <a:cubicBezTo>
                  <a:pt x="76200" y="387143"/>
                  <a:pt x="89107" y="400050"/>
                  <a:pt x="104775" y="400050"/>
                </a:cubicBezTo>
                <a:cubicBezTo>
                  <a:pt x="120443" y="400050"/>
                  <a:pt x="133350" y="387143"/>
                  <a:pt x="133350" y="371475"/>
                </a:cubicBezTo>
                <a:lnTo>
                  <a:pt x="133350" y="197048"/>
                </a:lnTo>
                <a:lnTo>
                  <a:pt x="137703" y="204676"/>
                </a:lnTo>
                <a:cubicBezTo>
                  <a:pt x="140496" y="209563"/>
                  <a:pt x="144686" y="213535"/>
                  <a:pt x="149740" y="216061"/>
                </a:cubicBezTo>
                <a:lnTo>
                  <a:pt x="149051" y="215689"/>
                </a:lnTo>
                <a:lnTo>
                  <a:pt x="196435" y="244469"/>
                </a:lnTo>
                <a:lnTo>
                  <a:pt x="196788" y="244655"/>
                </a:lnTo>
                <a:cubicBezTo>
                  <a:pt x="200156" y="246327"/>
                  <a:pt x="203743" y="247110"/>
                  <a:pt x="207318" y="247390"/>
                </a:cubicBezTo>
                <a:cubicBezTo>
                  <a:pt x="208037" y="247561"/>
                  <a:pt x="208773" y="247649"/>
                  <a:pt x="209513" y="247650"/>
                </a:cubicBezTo>
                <a:cubicBezTo>
                  <a:pt x="209538" y="247650"/>
                  <a:pt x="209562" y="247650"/>
                  <a:pt x="209587" y="247650"/>
                </a:cubicBezTo>
                <a:cubicBezTo>
                  <a:pt x="209619" y="247650"/>
                  <a:pt x="209649" y="247632"/>
                  <a:pt x="209680" y="247631"/>
                </a:cubicBezTo>
                <a:cubicBezTo>
                  <a:pt x="211543" y="247621"/>
                  <a:pt x="213377" y="247368"/>
                  <a:pt x="215187" y="246999"/>
                </a:cubicBezTo>
                <a:cubicBezTo>
                  <a:pt x="215654" y="246905"/>
                  <a:pt x="216117" y="246838"/>
                  <a:pt x="216582" y="246720"/>
                </a:cubicBezTo>
                <a:cubicBezTo>
                  <a:pt x="218325" y="246274"/>
                  <a:pt x="220012" y="245660"/>
                  <a:pt x="221642" y="244897"/>
                </a:cubicBezTo>
                <a:cubicBezTo>
                  <a:pt x="221861" y="244795"/>
                  <a:pt x="222095" y="244763"/>
                  <a:pt x="222312" y="244655"/>
                </a:cubicBezTo>
                <a:lnTo>
                  <a:pt x="221828" y="244878"/>
                </a:lnTo>
                <a:lnTo>
                  <a:pt x="288503" y="216303"/>
                </a:lnTo>
                <a:cubicBezTo>
                  <a:pt x="288679" y="216228"/>
                  <a:pt x="288853" y="216147"/>
                  <a:pt x="289024" y="216061"/>
                </a:cubicBezTo>
                <a:cubicBezTo>
                  <a:pt x="291936" y="214605"/>
                  <a:pt x="294581" y="212671"/>
                  <a:pt x="296838" y="210313"/>
                </a:cubicBezTo>
                <a:cubicBezTo>
                  <a:pt x="296844" y="210300"/>
                  <a:pt x="296850" y="210288"/>
                  <a:pt x="296856" y="210276"/>
                </a:cubicBezTo>
                <a:cubicBezTo>
                  <a:pt x="296865" y="210267"/>
                  <a:pt x="297726" y="209235"/>
                  <a:pt x="297842" y="209066"/>
                </a:cubicBezTo>
                <a:cubicBezTo>
                  <a:pt x="297959" y="208898"/>
                  <a:pt x="298020" y="208794"/>
                  <a:pt x="298084" y="208694"/>
                </a:cubicBezTo>
                <a:cubicBezTo>
                  <a:pt x="298212" y="208496"/>
                  <a:pt x="298316" y="208335"/>
                  <a:pt x="298438" y="208136"/>
                </a:cubicBezTo>
                <a:cubicBezTo>
                  <a:pt x="298682" y="207738"/>
                  <a:pt x="298968" y="207238"/>
                  <a:pt x="299331" y="206629"/>
                </a:cubicBezTo>
                <a:cubicBezTo>
                  <a:pt x="300056" y="205411"/>
                  <a:pt x="301035" y="203756"/>
                  <a:pt x="302196" y="201774"/>
                </a:cubicBezTo>
                <a:cubicBezTo>
                  <a:pt x="302917" y="200542"/>
                  <a:pt x="303963" y="198745"/>
                  <a:pt x="304800" y="197309"/>
                </a:cubicBezTo>
                <a:lnTo>
                  <a:pt x="304800" y="371475"/>
                </a:lnTo>
                <a:cubicBezTo>
                  <a:pt x="304800" y="387143"/>
                  <a:pt x="317707" y="400050"/>
                  <a:pt x="333375" y="400050"/>
                </a:cubicBezTo>
                <a:cubicBezTo>
                  <a:pt x="340696" y="400050"/>
                  <a:pt x="347345" y="397153"/>
                  <a:pt x="352425" y="392553"/>
                </a:cubicBezTo>
                <a:cubicBezTo>
                  <a:pt x="357505" y="397153"/>
                  <a:pt x="364154" y="400050"/>
                  <a:pt x="371475" y="400050"/>
                </a:cubicBezTo>
                <a:cubicBezTo>
                  <a:pt x="387143" y="400050"/>
                  <a:pt x="400050" y="387143"/>
                  <a:pt x="400050" y="371475"/>
                </a:cubicBezTo>
                <a:lnTo>
                  <a:pt x="400050" y="283964"/>
                </a:lnTo>
                <a:cubicBezTo>
                  <a:pt x="403049" y="285046"/>
                  <a:pt x="406224" y="285750"/>
                  <a:pt x="409575" y="285750"/>
                </a:cubicBezTo>
                <a:cubicBezTo>
                  <a:pt x="425243" y="285750"/>
                  <a:pt x="438150" y="272843"/>
                  <a:pt x="438150" y="257175"/>
                </a:cubicBezTo>
                <a:lnTo>
                  <a:pt x="438150" y="152400"/>
                </a:lnTo>
                <a:cubicBezTo>
                  <a:pt x="438150" y="120954"/>
                  <a:pt x="412467" y="95250"/>
                  <a:pt x="381019" y="95250"/>
                </a:cubicBezTo>
                <a:lnTo>
                  <a:pt x="320427" y="95231"/>
                </a:lnTo>
                <a:cubicBezTo>
                  <a:pt x="308143" y="95237"/>
                  <a:pt x="298983" y="98520"/>
                  <a:pt x="292782" y="103417"/>
                </a:cubicBezTo>
                <a:cubicBezTo>
                  <a:pt x="286581" y="108314"/>
                  <a:pt x="283643" y="114349"/>
                  <a:pt x="281992" y="117444"/>
                </a:cubicBezTo>
                <a:cubicBezTo>
                  <a:pt x="274557" y="131389"/>
                  <a:pt x="257785" y="164435"/>
                  <a:pt x="255687" y="168566"/>
                </a:cubicBezTo>
                <a:lnTo>
                  <a:pt x="211355" y="186649"/>
                </a:lnTo>
                <a:lnTo>
                  <a:pt x="183282" y="169218"/>
                </a:lnTo>
                <a:lnTo>
                  <a:pt x="153963" y="117909"/>
                </a:lnTo>
                <a:lnTo>
                  <a:pt x="154353" y="118672"/>
                </a:lnTo>
                <a:cubicBezTo>
                  <a:pt x="154353" y="118672"/>
                  <a:pt x="142529" y="95243"/>
                  <a:pt x="114895" y="95231"/>
                </a:cubicBezTo>
                <a:lnTo>
                  <a:pt x="57131" y="95231"/>
                </a:lnTo>
                <a:close/>
                <a:moveTo>
                  <a:pt x="57131" y="114281"/>
                </a:moveTo>
                <a:lnTo>
                  <a:pt x="114895" y="114281"/>
                </a:lnTo>
                <a:cubicBezTo>
                  <a:pt x="132505" y="114289"/>
                  <a:pt x="137015" y="126597"/>
                  <a:pt x="137015" y="126597"/>
                </a:cubicBezTo>
                <a:lnTo>
                  <a:pt x="137201" y="126988"/>
                </a:lnTo>
                <a:lnTo>
                  <a:pt x="169143" y="182854"/>
                </a:lnTo>
                <a:lnTo>
                  <a:pt x="205160" y="205215"/>
                </a:lnTo>
                <a:cubicBezTo>
                  <a:pt x="205190" y="205234"/>
                  <a:pt x="205221" y="205253"/>
                  <a:pt x="205253" y="205271"/>
                </a:cubicBezTo>
                <a:lnTo>
                  <a:pt x="213420" y="210350"/>
                </a:lnTo>
                <a:lnTo>
                  <a:pt x="213810" y="210555"/>
                </a:lnTo>
                <a:cubicBezTo>
                  <a:pt x="218620" y="212959"/>
                  <a:pt x="220478" y="218516"/>
                  <a:pt x="218070" y="223335"/>
                </a:cubicBezTo>
                <a:cubicBezTo>
                  <a:pt x="216873" y="225699"/>
                  <a:pt x="214881" y="227254"/>
                  <a:pt x="212620" y="228023"/>
                </a:cubicBezTo>
                <a:cubicBezTo>
                  <a:pt x="212403" y="228098"/>
                  <a:pt x="212185" y="228207"/>
                  <a:pt x="211968" y="228265"/>
                </a:cubicBezTo>
                <a:cubicBezTo>
                  <a:pt x="211196" y="228466"/>
                  <a:pt x="210394" y="228595"/>
                  <a:pt x="209587" y="228600"/>
                </a:cubicBezTo>
                <a:cubicBezTo>
                  <a:pt x="209569" y="228600"/>
                  <a:pt x="209550" y="228600"/>
                  <a:pt x="209531" y="228600"/>
                </a:cubicBezTo>
                <a:cubicBezTo>
                  <a:pt x="208157" y="228600"/>
                  <a:pt x="206761" y="228275"/>
                  <a:pt x="205383" y="227614"/>
                </a:cubicBezTo>
                <a:lnTo>
                  <a:pt x="158614" y="199188"/>
                </a:lnTo>
                <a:lnTo>
                  <a:pt x="158260" y="199020"/>
                </a:lnTo>
                <a:cubicBezTo>
                  <a:pt x="156574" y="198177"/>
                  <a:pt x="155201" y="196866"/>
                  <a:pt x="154260" y="195225"/>
                </a:cubicBezTo>
                <a:lnTo>
                  <a:pt x="132531" y="157200"/>
                </a:lnTo>
                <a:lnTo>
                  <a:pt x="132252" y="157349"/>
                </a:lnTo>
                <a:cubicBezTo>
                  <a:pt x="130578" y="154176"/>
                  <a:pt x="127263" y="152213"/>
                  <a:pt x="123676" y="152270"/>
                </a:cubicBezTo>
                <a:cubicBezTo>
                  <a:pt x="118423" y="152352"/>
                  <a:pt x="114228" y="156672"/>
                  <a:pt x="114300" y="161925"/>
                </a:cubicBezTo>
                <a:lnTo>
                  <a:pt x="114300" y="371475"/>
                </a:lnTo>
                <a:cubicBezTo>
                  <a:pt x="114300" y="376857"/>
                  <a:pt x="110157" y="381000"/>
                  <a:pt x="104775" y="381000"/>
                </a:cubicBezTo>
                <a:cubicBezTo>
                  <a:pt x="99393" y="381000"/>
                  <a:pt x="95250" y="376857"/>
                  <a:pt x="95250" y="371475"/>
                </a:cubicBezTo>
                <a:lnTo>
                  <a:pt x="95250" y="257175"/>
                </a:lnTo>
                <a:cubicBezTo>
                  <a:pt x="95324" y="251915"/>
                  <a:pt x="91120" y="247590"/>
                  <a:pt x="85860" y="247515"/>
                </a:cubicBezTo>
                <a:cubicBezTo>
                  <a:pt x="80599" y="247441"/>
                  <a:pt x="76274" y="251645"/>
                  <a:pt x="76200" y="256906"/>
                </a:cubicBezTo>
                <a:cubicBezTo>
                  <a:pt x="76199" y="256995"/>
                  <a:pt x="76199" y="257085"/>
                  <a:pt x="76200" y="257175"/>
                </a:cubicBezTo>
                <a:lnTo>
                  <a:pt x="76200" y="295275"/>
                </a:lnTo>
                <a:cubicBezTo>
                  <a:pt x="76200" y="296423"/>
                  <a:pt x="76001" y="297566"/>
                  <a:pt x="75605" y="298624"/>
                </a:cubicBezTo>
                <a:lnTo>
                  <a:pt x="47030" y="374805"/>
                </a:lnTo>
                <a:cubicBezTo>
                  <a:pt x="45554" y="378729"/>
                  <a:pt x="41927" y="381019"/>
                  <a:pt x="38100" y="381019"/>
                </a:cubicBezTo>
                <a:cubicBezTo>
                  <a:pt x="37031" y="381019"/>
                  <a:pt x="35891" y="380808"/>
                  <a:pt x="34751" y="380386"/>
                </a:cubicBezTo>
                <a:lnTo>
                  <a:pt x="34733" y="380386"/>
                </a:lnTo>
                <a:cubicBezTo>
                  <a:pt x="29718" y="378475"/>
                  <a:pt x="27290" y="373137"/>
                  <a:pt x="29170" y="368126"/>
                </a:cubicBezTo>
                <a:lnTo>
                  <a:pt x="57150" y="293563"/>
                </a:lnTo>
                <a:lnTo>
                  <a:pt x="57150" y="257175"/>
                </a:lnTo>
                <a:lnTo>
                  <a:pt x="57150" y="161925"/>
                </a:lnTo>
                <a:cubicBezTo>
                  <a:pt x="57222" y="156664"/>
                  <a:pt x="53016" y="152342"/>
                  <a:pt x="47755" y="152270"/>
                </a:cubicBezTo>
                <a:cubicBezTo>
                  <a:pt x="47662" y="152268"/>
                  <a:pt x="47569" y="152268"/>
                  <a:pt x="47476" y="152270"/>
                </a:cubicBezTo>
                <a:cubicBezTo>
                  <a:pt x="42223" y="152352"/>
                  <a:pt x="38028" y="156672"/>
                  <a:pt x="38100" y="161925"/>
                </a:cubicBezTo>
                <a:lnTo>
                  <a:pt x="38100" y="257175"/>
                </a:lnTo>
                <a:cubicBezTo>
                  <a:pt x="38100" y="262557"/>
                  <a:pt x="33957" y="266700"/>
                  <a:pt x="28575" y="266700"/>
                </a:cubicBezTo>
                <a:cubicBezTo>
                  <a:pt x="23193" y="266700"/>
                  <a:pt x="19050" y="262557"/>
                  <a:pt x="19050" y="257175"/>
                </a:cubicBezTo>
                <a:lnTo>
                  <a:pt x="19050" y="152381"/>
                </a:lnTo>
                <a:cubicBezTo>
                  <a:pt x="19050" y="131228"/>
                  <a:pt x="35982" y="114281"/>
                  <a:pt x="57131" y="114281"/>
                </a:cubicBezTo>
                <a:close/>
                <a:moveTo>
                  <a:pt x="320427" y="114281"/>
                </a:moveTo>
                <a:lnTo>
                  <a:pt x="381000" y="114300"/>
                </a:lnTo>
                <a:cubicBezTo>
                  <a:pt x="381006" y="114300"/>
                  <a:pt x="381012" y="114300"/>
                  <a:pt x="381019" y="114300"/>
                </a:cubicBezTo>
                <a:cubicBezTo>
                  <a:pt x="402167" y="114300"/>
                  <a:pt x="419100" y="131249"/>
                  <a:pt x="419100" y="152400"/>
                </a:cubicBezTo>
                <a:lnTo>
                  <a:pt x="419100" y="257175"/>
                </a:lnTo>
                <a:cubicBezTo>
                  <a:pt x="419100" y="262557"/>
                  <a:pt x="414957" y="266700"/>
                  <a:pt x="409575" y="266700"/>
                </a:cubicBezTo>
                <a:cubicBezTo>
                  <a:pt x="404193" y="266700"/>
                  <a:pt x="400050" y="262557"/>
                  <a:pt x="400050" y="257175"/>
                </a:cubicBezTo>
                <a:lnTo>
                  <a:pt x="400050" y="161925"/>
                </a:lnTo>
                <a:cubicBezTo>
                  <a:pt x="400122" y="156664"/>
                  <a:pt x="395916" y="152342"/>
                  <a:pt x="390655" y="152270"/>
                </a:cubicBezTo>
                <a:cubicBezTo>
                  <a:pt x="390562" y="152268"/>
                  <a:pt x="390469" y="152268"/>
                  <a:pt x="390376" y="152270"/>
                </a:cubicBezTo>
                <a:cubicBezTo>
                  <a:pt x="385123" y="152352"/>
                  <a:pt x="380928" y="156672"/>
                  <a:pt x="381000" y="161925"/>
                </a:cubicBezTo>
                <a:lnTo>
                  <a:pt x="381000" y="257175"/>
                </a:lnTo>
                <a:lnTo>
                  <a:pt x="381000" y="371475"/>
                </a:lnTo>
                <a:cubicBezTo>
                  <a:pt x="381000" y="376857"/>
                  <a:pt x="376857" y="381000"/>
                  <a:pt x="371475" y="381000"/>
                </a:cubicBezTo>
                <a:cubicBezTo>
                  <a:pt x="366093" y="381000"/>
                  <a:pt x="361950" y="376857"/>
                  <a:pt x="361950" y="371475"/>
                </a:cubicBezTo>
                <a:lnTo>
                  <a:pt x="361950" y="257175"/>
                </a:lnTo>
                <a:cubicBezTo>
                  <a:pt x="362024" y="251915"/>
                  <a:pt x="357820" y="247590"/>
                  <a:pt x="352560" y="247515"/>
                </a:cubicBezTo>
                <a:cubicBezTo>
                  <a:pt x="347299" y="247441"/>
                  <a:pt x="342974" y="251645"/>
                  <a:pt x="342900" y="256906"/>
                </a:cubicBezTo>
                <a:cubicBezTo>
                  <a:pt x="342899" y="256995"/>
                  <a:pt x="342899" y="257085"/>
                  <a:pt x="342900" y="257175"/>
                </a:cubicBezTo>
                <a:lnTo>
                  <a:pt x="342900" y="371475"/>
                </a:lnTo>
                <a:cubicBezTo>
                  <a:pt x="342900" y="376857"/>
                  <a:pt x="338757" y="381000"/>
                  <a:pt x="333375" y="381000"/>
                </a:cubicBezTo>
                <a:cubicBezTo>
                  <a:pt x="327993" y="381000"/>
                  <a:pt x="323850" y="376857"/>
                  <a:pt x="323850" y="371475"/>
                </a:cubicBezTo>
                <a:lnTo>
                  <a:pt x="323850" y="162744"/>
                </a:lnTo>
                <a:cubicBezTo>
                  <a:pt x="324160" y="159554"/>
                  <a:pt x="322846" y="156422"/>
                  <a:pt x="320353" y="154409"/>
                </a:cubicBezTo>
                <a:cubicBezTo>
                  <a:pt x="320178" y="154266"/>
                  <a:pt x="319998" y="154130"/>
                  <a:pt x="319813" y="154000"/>
                </a:cubicBezTo>
                <a:cubicBezTo>
                  <a:pt x="319739" y="153949"/>
                  <a:pt x="319665" y="153900"/>
                  <a:pt x="319590" y="153851"/>
                </a:cubicBezTo>
                <a:cubicBezTo>
                  <a:pt x="319534" y="153820"/>
                  <a:pt x="319479" y="153789"/>
                  <a:pt x="319422" y="153758"/>
                </a:cubicBezTo>
                <a:cubicBezTo>
                  <a:pt x="319205" y="153619"/>
                  <a:pt x="318981" y="153488"/>
                  <a:pt x="318753" y="153367"/>
                </a:cubicBezTo>
                <a:cubicBezTo>
                  <a:pt x="318558" y="153261"/>
                  <a:pt x="318359" y="153162"/>
                  <a:pt x="318157" y="153070"/>
                </a:cubicBezTo>
                <a:cubicBezTo>
                  <a:pt x="318114" y="153051"/>
                  <a:pt x="318071" y="153032"/>
                  <a:pt x="318027" y="153014"/>
                </a:cubicBezTo>
                <a:cubicBezTo>
                  <a:pt x="317777" y="152910"/>
                  <a:pt x="317522" y="152817"/>
                  <a:pt x="317264" y="152735"/>
                </a:cubicBezTo>
                <a:cubicBezTo>
                  <a:pt x="317178" y="152709"/>
                  <a:pt x="317091" y="152684"/>
                  <a:pt x="317004" y="152660"/>
                </a:cubicBezTo>
                <a:cubicBezTo>
                  <a:pt x="316789" y="152597"/>
                  <a:pt x="316572" y="152541"/>
                  <a:pt x="316353" y="152493"/>
                </a:cubicBezTo>
                <a:cubicBezTo>
                  <a:pt x="316309" y="152487"/>
                  <a:pt x="316266" y="152480"/>
                  <a:pt x="316223" y="152474"/>
                </a:cubicBezTo>
                <a:cubicBezTo>
                  <a:pt x="315952" y="152419"/>
                  <a:pt x="315679" y="152376"/>
                  <a:pt x="315404" y="152344"/>
                </a:cubicBezTo>
                <a:cubicBezTo>
                  <a:pt x="315398" y="152344"/>
                  <a:pt x="315392" y="152344"/>
                  <a:pt x="315385" y="152344"/>
                </a:cubicBezTo>
                <a:cubicBezTo>
                  <a:pt x="314984" y="152294"/>
                  <a:pt x="314580" y="152269"/>
                  <a:pt x="314176" y="152270"/>
                </a:cubicBezTo>
                <a:cubicBezTo>
                  <a:pt x="310446" y="152330"/>
                  <a:pt x="307094" y="154562"/>
                  <a:pt x="305600" y="157981"/>
                </a:cubicBezTo>
                <a:cubicBezTo>
                  <a:pt x="305153" y="158753"/>
                  <a:pt x="299884" y="167875"/>
                  <a:pt x="294103" y="177831"/>
                </a:cubicBezTo>
                <a:cubicBezTo>
                  <a:pt x="291092" y="183015"/>
                  <a:pt x="288067" y="188212"/>
                  <a:pt x="285769" y="192137"/>
                </a:cubicBezTo>
                <a:cubicBezTo>
                  <a:pt x="284619" y="194100"/>
                  <a:pt x="283640" y="195755"/>
                  <a:pt x="282959" y="196900"/>
                </a:cubicBezTo>
                <a:cubicBezTo>
                  <a:pt x="282807" y="197155"/>
                  <a:pt x="282746" y="197275"/>
                  <a:pt x="282625" y="197476"/>
                </a:cubicBezTo>
                <a:cubicBezTo>
                  <a:pt x="282015" y="198039"/>
                  <a:pt x="281362" y="198571"/>
                  <a:pt x="280597" y="198965"/>
                </a:cubicBezTo>
                <a:lnTo>
                  <a:pt x="237920" y="217252"/>
                </a:lnTo>
                <a:cubicBezTo>
                  <a:pt x="237465" y="210667"/>
                  <a:pt x="234783" y="204389"/>
                  <a:pt x="230219" y="199523"/>
                </a:cubicBezTo>
                <a:lnTo>
                  <a:pt x="266142" y="184863"/>
                </a:lnTo>
                <a:cubicBezTo>
                  <a:pt x="268261" y="183999"/>
                  <a:pt x="269997" y="182401"/>
                  <a:pt x="271035" y="180361"/>
                </a:cubicBezTo>
                <a:cubicBezTo>
                  <a:pt x="271035" y="180361"/>
                  <a:pt x="291232" y="140626"/>
                  <a:pt x="298810" y="126411"/>
                </a:cubicBezTo>
                <a:lnTo>
                  <a:pt x="298810" y="126392"/>
                </a:lnTo>
                <a:cubicBezTo>
                  <a:pt x="300650" y="122943"/>
                  <a:pt x="302016" y="120392"/>
                  <a:pt x="304595" y="118356"/>
                </a:cubicBezTo>
                <a:cubicBezTo>
                  <a:pt x="307179" y="116316"/>
                  <a:pt x="311280" y="114285"/>
                  <a:pt x="320427" y="114281"/>
                </a:cubicBezTo>
                <a:close/>
              </a:path>
            </a:pathLst>
          </a:custGeom>
          <a:solidFill>
            <a:schemeClr val="tx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1867"/>
          </a:p>
        </p:txBody>
      </p:sp>
      <p:sp>
        <p:nvSpPr>
          <p:cNvPr id="70" name="Graphic 68">
            <a:extLst>
              <a:ext uri="{FF2B5EF4-FFF2-40B4-BE49-F238E27FC236}">
                <a16:creationId xmlns:a16="http://schemas.microsoft.com/office/drawing/2014/main" id="{31B6AB60-5543-4222-AB3E-45C2ED4CF735}"/>
              </a:ext>
            </a:extLst>
          </p:cNvPr>
          <p:cNvSpPr/>
          <p:nvPr/>
        </p:nvSpPr>
        <p:spPr>
          <a:xfrm>
            <a:off x="1185947" y="4454593"/>
            <a:ext cx="412268" cy="376419"/>
          </a:xfrm>
          <a:custGeom>
            <a:avLst/>
            <a:gdLst>
              <a:gd name="connsiteX0" fmla="*/ 38100 w 438150"/>
              <a:gd name="connsiteY0" fmla="*/ 0 h 400050"/>
              <a:gd name="connsiteX1" fmla="*/ 0 w 438150"/>
              <a:gd name="connsiteY1" fmla="*/ 38100 h 400050"/>
              <a:gd name="connsiteX2" fmla="*/ 0 w 438150"/>
              <a:gd name="connsiteY2" fmla="*/ 361950 h 400050"/>
              <a:gd name="connsiteX3" fmla="*/ 38100 w 438150"/>
              <a:gd name="connsiteY3" fmla="*/ 400050 h 400050"/>
              <a:gd name="connsiteX4" fmla="*/ 400050 w 438150"/>
              <a:gd name="connsiteY4" fmla="*/ 400050 h 400050"/>
              <a:gd name="connsiteX5" fmla="*/ 438150 w 438150"/>
              <a:gd name="connsiteY5" fmla="*/ 361950 h 400050"/>
              <a:gd name="connsiteX6" fmla="*/ 438150 w 438150"/>
              <a:gd name="connsiteY6" fmla="*/ 38100 h 400050"/>
              <a:gd name="connsiteX7" fmla="*/ 400050 w 438150"/>
              <a:gd name="connsiteY7" fmla="*/ 0 h 400050"/>
              <a:gd name="connsiteX8" fmla="*/ 38100 w 438150"/>
              <a:gd name="connsiteY8" fmla="*/ 19050 h 400050"/>
              <a:gd name="connsiteX9" fmla="*/ 400050 w 438150"/>
              <a:gd name="connsiteY9" fmla="*/ 19050 h 400050"/>
              <a:gd name="connsiteX10" fmla="*/ 419100 w 438150"/>
              <a:gd name="connsiteY10" fmla="*/ 38100 h 400050"/>
              <a:gd name="connsiteX11" fmla="*/ 419100 w 438150"/>
              <a:gd name="connsiteY11" fmla="*/ 66675 h 400050"/>
              <a:gd name="connsiteX12" fmla="*/ 19050 w 438150"/>
              <a:gd name="connsiteY12" fmla="*/ 66675 h 400050"/>
              <a:gd name="connsiteX13" fmla="*/ 19050 w 438150"/>
              <a:gd name="connsiteY13" fmla="*/ 38100 h 400050"/>
              <a:gd name="connsiteX14" fmla="*/ 38100 w 438150"/>
              <a:gd name="connsiteY14" fmla="*/ 19050 h 400050"/>
              <a:gd name="connsiteX15" fmla="*/ 19050 w 438150"/>
              <a:gd name="connsiteY15" fmla="*/ 85725 h 400050"/>
              <a:gd name="connsiteX16" fmla="*/ 419100 w 438150"/>
              <a:gd name="connsiteY16" fmla="*/ 85725 h 400050"/>
              <a:gd name="connsiteX17" fmla="*/ 419100 w 438150"/>
              <a:gd name="connsiteY17" fmla="*/ 314325 h 400050"/>
              <a:gd name="connsiteX18" fmla="*/ 19050 w 438150"/>
              <a:gd name="connsiteY18" fmla="*/ 314325 h 400050"/>
              <a:gd name="connsiteX19" fmla="*/ 47625 w 438150"/>
              <a:gd name="connsiteY19" fmla="*/ 114300 h 400050"/>
              <a:gd name="connsiteX20" fmla="*/ 47625 w 438150"/>
              <a:gd name="connsiteY20" fmla="*/ 180975 h 400050"/>
              <a:gd name="connsiteX21" fmla="*/ 209550 w 438150"/>
              <a:gd name="connsiteY21" fmla="*/ 180975 h 400050"/>
              <a:gd name="connsiteX22" fmla="*/ 209550 w 438150"/>
              <a:gd name="connsiteY22" fmla="*/ 114300 h 400050"/>
              <a:gd name="connsiteX23" fmla="*/ 228600 w 438150"/>
              <a:gd name="connsiteY23" fmla="*/ 114300 h 400050"/>
              <a:gd name="connsiteX24" fmla="*/ 228600 w 438150"/>
              <a:gd name="connsiteY24" fmla="*/ 180975 h 400050"/>
              <a:gd name="connsiteX25" fmla="*/ 390525 w 438150"/>
              <a:gd name="connsiteY25" fmla="*/ 180975 h 400050"/>
              <a:gd name="connsiteX26" fmla="*/ 390525 w 438150"/>
              <a:gd name="connsiteY26" fmla="*/ 114300 h 400050"/>
              <a:gd name="connsiteX27" fmla="*/ 66675 w 438150"/>
              <a:gd name="connsiteY27" fmla="*/ 133350 h 400050"/>
              <a:gd name="connsiteX28" fmla="*/ 190500 w 438150"/>
              <a:gd name="connsiteY28" fmla="*/ 133350 h 400050"/>
              <a:gd name="connsiteX29" fmla="*/ 190500 w 438150"/>
              <a:gd name="connsiteY29" fmla="*/ 161925 h 400050"/>
              <a:gd name="connsiteX30" fmla="*/ 66675 w 438150"/>
              <a:gd name="connsiteY30" fmla="*/ 161925 h 400050"/>
              <a:gd name="connsiteX31" fmla="*/ 247650 w 438150"/>
              <a:gd name="connsiteY31" fmla="*/ 133350 h 400050"/>
              <a:gd name="connsiteX32" fmla="*/ 371475 w 438150"/>
              <a:gd name="connsiteY32" fmla="*/ 133350 h 400050"/>
              <a:gd name="connsiteX33" fmla="*/ 371475 w 438150"/>
              <a:gd name="connsiteY33" fmla="*/ 161925 h 400050"/>
              <a:gd name="connsiteX34" fmla="*/ 247650 w 438150"/>
              <a:gd name="connsiteY34" fmla="*/ 161925 h 400050"/>
              <a:gd name="connsiteX35" fmla="*/ 47625 w 438150"/>
              <a:gd name="connsiteY35" fmla="*/ 200025 h 400050"/>
              <a:gd name="connsiteX36" fmla="*/ 47625 w 438150"/>
              <a:gd name="connsiteY36" fmla="*/ 285750 h 400050"/>
              <a:gd name="connsiteX37" fmla="*/ 390525 w 438150"/>
              <a:gd name="connsiteY37" fmla="*/ 285750 h 400050"/>
              <a:gd name="connsiteX38" fmla="*/ 390525 w 438150"/>
              <a:gd name="connsiteY38" fmla="*/ 200025 h 400050"/>
              <a:gd name="connsiteX39" fmla="*/ 66675 w 438150"/>
              <a:gd name="connsiteY39" fmla="*/ 219075 h 400050"/>
              <a:gd name="connsiteX40" fmla="*/ 371475 w 438150"/>
              <a:gd name="connsiteY40" fmla="*/ 219075 h 400050"/>
              <a:gd name="connsiteX41" fmla="*/ 371475 w 438150"/>
              <a:gd name="connsiteY41" fmla="*/ 266700 h 400050"/>
              <a:gd name="connsiteX42" fmla="*/ 66675 w 438150"/>
              <a:gd name="connsiteY42" fmla="*/ 266700 h 400050"/>
              <a:gd name="connsiteX43" fmla="*/ 19050 w 438150"/>
              <a:gd name="connsiteY43" fmla="*/ 333375 h 400050"/>
              <a:gd name="connsiteX44" fmla="*/ 419100 w 438150"/>
              <a:gd name="connsiteY44" fmla="*/ 333375 h 400050"/>
              <a:gd name="connsiteX45" fmla="*/ 419100 w 438150"/>
              <a:gd name="connsiteY45" fmla="*/ 361950 h 400050"/>
              <a:gd name="connsiteX46" fmla="*/ 400050 w 438150"/>
              <a:gd name="connsiteY46" fmla="*/ 381000 h 400050"/>
              <a:gd name="connsiteX47" fmla="*/ 38100 w 438150"/>
              <a:gd name="connsiteY47" fmla="*/ 381000 h 400050"/>
              <a:gd name="connsiteX48" fmla="*/ 19050 w 438150"/>
              <a:gd name="connsiteY48" fmla="*/ 3619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38150" h="400050">
                <a:moveTo>
                  <a:pt x="38100" y="0"/>
                </a:moveTo>
                <a:cubicBezTo>
                  <a:pt x="17152" y="0"/>
                  <a:pt x="0" y="17152"/>
                  <a:pt x="0" y="38100"/>
                </a:cubicBezTo>
                <a:lnTo>
                  <a:pt x="0" y="361950"/>
                </a:lnTo>
                <a:cubicBezTo>
                  <a:pt x="0" y="382898"/>
                  <a:pt x="17152" y="400050"/>
                  <a:pt x="38100" y="400050"/>
                </a:cubicBezTo>
                <a:lnTo>
                  <a:pt x="400050" y="400050"/>
                </a:lnTo>
                <a:cubicBezTo>
                  <a:pt x="420998" y="400050"/>
                  <a:pt x="438150" y="382898"/>
                  <a:pt x="438150" y="361950"/>
                </a:cubicBezTo>
                <a:lnTo>
                  <a:pt x="438150" y="38100"/>
                </a:lnTo>
                <a:cubicBezTo>
                  <a:pt x="438150" y="17152"/>
                  <a:pt x="420998" y="0"/>
                  <a:pt x="400050" y="0"/>
                </a:cubicBezTo>
                <a:close/>
                <a:moveTo>
                  <a:pt x="38100" y="19050"/>
                </a:moveTo>
                <a:lnTo>
                  <a:pt x="400050" y="19050"/>
                </a:lnTo>
                <a:cubicBezTo>
                  <a:pt x="410691" y="19050"/>
                  <a:pt x="419100" y="27459"/>
                  <a:pt x="419100" y="38100"/>
                </a:cubicBezTo>
                <a:lnTo>
                  <a:pt x="419100" y="66675"/>
                </a:lnTo>
                <a:lnTo>
                  <a:pt x="19050" y="66675"/>
                </a:lnTo>
                <a:lnTo>
                  <a:pt x="19050" y="38100"/>
                </a:lnTo>
                <a:cubicBezTo>
                  <a:pt x="19050" y="27459"/>
                  <a:pt x="27459" y="19050"/>
                  <a:pt x="38100" y="19050"/>
                </a:cubicBezTo>
                <a:close/>
                <a:moveTo>
                  <a:pt x="19050" y="85725"/>
                </a:moveTo>
                <a:lnTo>
                  <a:pt x="419100" y="85725"/>
                </a:lnTo>
                <a:lnTo>
                  <a:pt x="419100" y="314325"/>
                </a:lnTo>
                <a:lnTo>
                  <a:pt x="19050" y="314325"/>
                </a:lnTo>
                <a:close/>
                <a:moveTo>
                  <a:pt x="47625" y="114300"/>
                </a:moveTo>
                <a:lnTo>
                  <a:pt x="47625" y="180975"/>
                </a:lnTo>
                <a:lnTo>
                  <a:pt x="209550" y="180975"/>
                </a:lnTo>
                <a:lnTo>
                  <a:pt x="209550" y="114300"/>
                </a:lnTo>
                <a:close/>
                <a:moveTo>
                  <a:pt x="228600" y="114300"/>
                </a:moveTo>
                <a:lnTo>
                  <a:pt x="228600" y="180975"/>
                </a:lnTo>
                <a:lnTo>
                  <a:pt x="390525" y="180975"/>
                </a:lnTo>
                <a:lnTo>
                  <a:pt x="390525" y="114300"/>
                </a:lnTo>
                <a:close/>
                <a:moveTo>
                  <a:pt x="66675" y="133350"/>
                </a:moveTo>
                <a:lnTo>
                  <a:pt x="190500" y="133350"/>
                </a:lnTo>
                <a:lnTo>
                  <a:pt x="190500" y="161925"/>
                </a:lnTo>
                <a:lnTo>
                  <a:pt x="66675" y="161925"/>
                </a:lnTo>
                <a:close/>
                <a:moveTo>
                  <a:pt x="247650" y="133350"/>
                </a:moveTo>
                <a:lnTo>
                  <a:pt x="371475" y="133350"/>
                </a:lnTo>
                <a:lnTo>
                  <a:pt x="371475" y="161925"/>
                </a:lnTo>
                <a:lnTo>
                  <a:pt x="247650" y="161925"/>
                </a:lnTo>
                <a:close/>
                <a:moveTo>
                  <a:pt x="47625" y="200025"/>
                </a:moveTo>
                <a:lnTo>
                  <a:pt x="47625" y="285750"/>
                </a:lnTo>
                <a:lnTo>
                  <a:pt x="390525" y="285750"/>
                </a:lnTo>
                <a:lnTo>
                  <a:pt x="390525" y="200025"/>
                </a:lnTo>
                <a:close/>
                <a:moveTo>
                  <a:pt x="66675" y="219075"/>
                </a:moveTo>
                <a:lnTo>
                  <a:pt x="371475" y="219075"/>
                </a:lnTo>
                <a:lnTo>
                  <a:pt x="371475" y="266700"/>
                </a:lnTo>
                <a:lnTo>
                  <a:pt x="66675" y="266700"/>
                </a:lnTo>
                <a:close/>
                <a:moveTo>
                  <a:pt x="19050" y="333375"/>
                </a:moveTo>
                <a:lnTo>
                  <a:pt x="419100" y="333375"/>
                </a:lnTo>
                <a:lnTo>
                  <a:pt x="419100" y="361950"/>
                </a:lnTo>
                <a:cubicBezTo>
                  <a:pt x="419100" y="372591"/>
                  <a:pt x="410691" y="381000"/>
                  <a:pt x="400050" y="381000"/>
                </a:cubicBezTo>
                <a:lnTo>
                  <a:pt x="38100" y="381000"/>
                </a:lnTo>
                <a:cubicBezTo>
                  <a:pt x="27459" y="381000"/>
                  <a:pt x="19050" y="372591"/>
                  <a:pt x="19050" y="361950"/>
                </a:cubicBezTo>
                <a:close/>
              </a:path>
            </a:pathLst>
          </a:custGeom>
          <a:solidFill>
            <a:srgbClr val="21479B"/>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1867"/>
          </a:p>
        </p:txBody>
      </p:sp>
      <p:sp>
        <p:nvSpPr>
          <p:cNvPr id="73" name="Graphic 71">
            <a:extLst>
              <a:ext uri="{FF2B5EF4-FFF2-40B4-BE49-F238E27FC236}">
                <a16:creationId xmlns:a16="http://schemas.microsoft.com/office/drawing/2014/main" id="{01B8B489-362F-4B95-8793-F4A84D1982F9}"/>
              </a:ext>
            </a:extLst>
          </p:cNvPr>
          <p:cNvSpPr/>
          <p:nvPr/>
        </p:nvSpPr>
        <p:spPr>
          <a:xfrm>
            <a:off x="1160999" y="5487444"/>
            <a:ext cx="462163" cy="461592"/>
          </a:xfrm>
          <a:custGeom>
            <a:avLst/>
            <a:gdLst>
              <a:gd name="connsiteX0" fmla="*/ 237530 w 476250"/>
              <a:gd name="connsiteY0" fmla="*/ 0 h 475662"/>
              <a:gd name="connsiteX1" fmla="*/ 187226 w 476250"/>
              <a:gd name="connsiteY1" fmla="*/ 27980 h 475662"/>
              <a:gd name="connsiteX2" fmla="*/ 186333 w 476250"/>
              <a:gd name="connsiteY2" fmla="*/ 79772 h 475662"/>
              <a:gd name="connsiteX3" fmla="*/ 182761 w 476250"/>
              <a:gd name="connsiteY3" fmla="*/ 94357 h 475662"/>
              <a:gd name="connsiteX4" fmla="*/ 188714 w 476250"/>
              <a:gd name="connsiteY4" fmla="*/ 110430 h 475662"/>
              <a:gd name="connsiteX5" fmla="*/ 193477 w 476250"/>
              <a:gd name="connsiteY5" fmla="*/ 113109 h 475662"/>
              <a:gd name="connsiteX6" fmla="*/ 197941 w 476250"/>
              <a:gd name="connsiteY6" fmla="*/ 127992 h 475662"/>
              <a:gd name="connsiteX7" fmla="*/ 202406 w 476250"/>
              <a:gd name="connsiteY7" fmla="*/ 135434 h 475662"/>
              <a:gd name="connsiteX8" fmla="*/ 203895 w 476250"/>
              <a:gd name="connsiteY8" fmla="*/ 136624 h 475662"/>
              <a:gd name="connsiteX9" fmla="*/ 203299 w 476250"/>
              <a:gd name="connsiteY9" fmla="*/ 152102 h 475662"/>
              <a:gd name="connsiteX10" fmla="*/ 194965 w 476250"/>
              <a:gd name="connsiteY10" fmla="*/ 159841 h 475662"/>
              <a:gd name="connsiteX11" fmla="*/ 174129 w 476250"/>
              <a:gd name="connsiteY11" fmla="*/ 169962 h 475662"/>
              <a:gd name="connsiteX12" fmla="*/ 139005 w 476250"/>
              <a:gd name="connsiteY12" fmla="*/ 205383 h 475662"/>
              <a:gd name="connsiteX13" fmla="*/ 130076 w 476250"/>
              <a:gd name="connsiteY13" fmla="*/ 199430 h 475662"/>
              <a:gd name="connsiteX14" fmla="*/ 129480 w 476250"/>
              <a:gd name="connsiteY14" fmla="*/ 184249 h 475662"/>
              <a:gd name="connsiteX15" fmla="*/ 130969 w 476250"/>
              <a:gd name="connsiteY15" fmla="*/ 183059 h 475662"/>
              <a:gd name="connsiteX16" fmla="*/ 135434 w 476250"/>
              <a:gd name="connsiteY16" fmla="*/ 175617 h 475662"/>
              <a:gd name="connsiteX17" fmla="*/ 139898 w 476250"/>
              <a:gd name="connsiteY17" fmla="*/ 160734 h 475662"/>
              <a:gd name="connsiteX18" fmla="*/ 144661 w 476250"/>
              <a:gd name="connsiteY18" fmla="*/ 158055 h 475662"/>
              <a:gd name="connsiteX19" fmla="*/ 150614 w 476250"/>
              <a:gd name="connsiteY19" fmla="*/ 141982 h 475662"/>
              <a:gd name="connsiteX20" fmla="*/ 147042 w 476250"/>
              <a:gd name="connsiteY20" fmla="*/ 127397 h 475662"/>
              <a:gd name="connsiteX21" fmla="*/ 146149 w 476250"/>
              <a:gd name="connsiteY21" fmla="*/ 75605 h 475662"/>
              <a:gd name="connsiteX22" fmla="*/ 95845 w 476250"/>
              <a:gd name="connsiteY22" fmla="*/ 47327 h 475662"/>
              <a:gd name="connsiteX23" fmla="*/ 68461 w 476250"/>
              <a:gd name="connsiteY23" fmla="*/ 57448 h 475662"/>
              <a:gd name="connsiteX24" fmla="*/ 46732 w 476250"/>
              <a:gd name="connsiteY24" fmla="*/ 70247 h 475662"/>
              <a:gd name="connsiteX25" fmla="*/ 38993 w 476250"/>
              <a:gd name="connsiteY25" fmla="*/ 93464 h 475662"/>
              <a:gd name="connsiteX26" fmla="*/ 43160 w 476250"/>
              <a:gd name="connsiteY26" fmla="*/ 127992 h 475662"/>
              <a:gd name="connsiteX27" fmla="*/ 39886 w 476250"/>
              <a:gd name="connsiteY27" fmla="*/ 141982 h 475662"/>
              <a:gd name="connsiteX28" fmla="*/ 45839 w 476250"/>
              <a:gd name="connsiteY28" fmla="*/ 158055 h 475662"/>
              <a:gd name="connsiteX29" fmla="*/ 50304 w 476250"/>
              <a:gd name="connsiteY29" fmla="*/ 160734 h 475662"/>
              <a:gd name="connsiteX30" fmla="*/ 54769 w 476250"/>
              <a:gd name="connsiteY30" fmla="*/ 175320 h 475662"/>
              <a:gd name="connsiteX31" fmla="*/ 59234 w 476250"/>
              <a:gd name="connsiteY31" fmla="*/ 183059 h 475662"/>
              <a:gd name="connsiteX32" fmla="*/ 60722 w 476250"/>
              <a:gd name="connsiteY32" fmla="*/ 184249 h 475662"/>
              <a:gd name="connsiteX33" fmla="*/ 60127 w 476250"/>
              <a:gd name="connsiteY33" fmla="*/ 199727 h 475662"/>
              <a:gd name="connsiteX34" fmla="*/ 52090 w 476250"/>
              <a:gd name="connsiteY34" fmla="*/ 208062 h 475662"/>
              <a:gd name="connsiteX35" fmla="*/ 32742 w 476250"/>
              <a:gd name="connsiteY35" fmla="*/ 217587 h 475662"/>
              <a:gd name="connsiteX36" fmla="*/ 0 w 476250"/>
              <a:gd name="connsiteY36" fmla="*/ 265807 h 475662"/>
              <a:gd name="connsiteX37" fmla="*/ 0 w 476250"/>
              <a:gd name="connsiteY37" fmla="*/ 266402 h 475662"/>
              <a:gd name="connsiteX38" fmla="*/ 0 w 476250"/>
              <a:gd name="connsiteY38" fmla="*/ 371177 h 475662"/>
              <a:gd name="connsiteX39" fmla="*/ 298 w 476250"/>
              <a:gd name="connsiteY39" fmla="*/ 372963 h 475662"/>
              <a:gd name="connsiteX40" fmla="*/ 22920 w 476250"/>
              <a:gd name="connsiteY40" fmla="*/ 414635 h 475662"/>
              <a:gd name="connsiteX41" fmla="*/ 130969 w 476250"/>
              <a:gd name="connsiteY41" fmla="*/ 475357 h 475662"/>
              <a:gd name="connsiteX42" fmla="*/ 139192 w 476250"/>
              <a:gd name="connsiteY42" fmla="*/ 473646 h 475662"/>
              <a:gd name="connsiteX43" fmla="*/ 142875 w 476250"/>
              <a:gd name="connsiteY43" fmla="*/ 466130 h 475662"/>
              <a:gd name="connsiteX44" fmla="*/ 142875 w 476250"/>
              <a:gd name="connsiteY44" fmla="*/ 456902 h 475662"/>
              <a:gd name="connsiteX45" fmla="*/ 152102 w 476250"/>
              <a:gd name="connsiteY45" fmla="*/ 434578 h 475662"/>
              <a:gd name="connsiteX46" fmla="*/ 173236 w 476250"/>
              <a:gd name="connsiteY46" fmla="*/ 421184 h 475662"/>
              <a:gd name="connsiteX47" fmla="*/ 199132 w 476250"/>
              <a:gd name="connsiteY47" fmla="*/ 410170 h 475662"/>
              <a:gd name="connsiteX48" fmla="*/ 219670 w 476250"/>
              <a:gd name="connsiteY48" fmla="*/ 389930 h 475662"/>
              <a:gd name="connsiteX49" fmla="*/ 220266 w 476250"/>
              <a:gd name="connsiteY49" fmla="*/ 387548 h 475662"/>
              <a:gd name="connsiteX50" fmla="*/ 220563 w 476250"/>
              <a:gd name="connsiteY50" fmla="*/ 363141 h 475662"/>
              <a:gd name="connsiteX51" fmla="*/ 215503 w 476250"/>
              <a:gd name="connsiteY51" fmla="*/ 354509 h 475662"/>
              <a:gd name="connsiteX52" fmla="*/ 215205 w 476250"/>
              <a:gd name="connsiteY52" fmla="*/ 353616 h 475662"/>
              <a:gd name="connsiteX53" fmla="*/ 212229 w 476250"/>
              <a:gd name="connsiteY53" fmla="*/ 348555 h 475662"/>
              <a:gd name="connsiteX54" fmla="*/ 207764 w 476250"/>
              <a:gd name="connsiteY54" fmla="*/ 334566 h 475662"/>
              <a:gd name="connsiteX55" fmla="*/ 200025 w 476250"/>
              <a:gd name="connsiteY55" fmla="*/ 326231 h 475662"/>
              <a:gd name="connsiteX56" fmla="*/ 200025 w 476250"/>
              <a:gd name="connsiteY56" fmla="*/ 325934 h 475662"/>
              <a:gd name="connsiteX57" fmla="*/ 197644 w 476250"/>
              <a:gd name="connsiteY57" fmla="*/ 318492 h 475662"/>
              <a:gd name="connsiteX58" fmla="*/ 198239 w 476250"/>
              <a:gd name="connsiteY58" fmla="*/ 315813 h 475662"/>
              <a:gd name="connsiteX59" fmla="*/ 201811 w 476250"/>
              <a:gd name="connsiteY59" fmla="*/ 305693 h 475662"/>
              <a:gd name="connsiteX60" fmla="*/ 201216 w 476250"/>
              <a:gd name="connsiteY60" fmla="*/ 256580 h 475662"/>
              <a:gd name="connsiteX61" fmla="*/ 237530 w 476250"/>
              <a:gd name="connsiteY61" fmla="*/ 237827 h 475662"/>
              <a:gd name="connsiteX62" fmla="*/ 237827 w 476250"/>
              <a:gd name="connsiteY62" fmla="*/ 237827 h 475662"/>
              <a:gd name="connsiteX63" fmla="*/ 255091 w 476250"/>
              <a:gd name="connsiteY63" fmla="*/ 242888 h 475662"/>
              <a:gd name="connsiteX64" fmla="*/ 261938 w 476250"/>
              <a:gd name="connsiteY64" fmla="*/ 247650 h 475662"/>
              <a:gd name="connsiteX65" fmla="*/ 275034 w 476250"/>
              <a:gd name="connsiteY65" fmla="*/ 254496 h 475662"/>
              <a:gd name="connsiteX66" fmla="*/ 279499 w 476250"/>
              <a:gd name="connsiteY66" fmla="*/ 269677 h 475662"/>
              <a:gd name="connsiteX67" fmla="*/ 274439 w 476250"/>
              <a:gd name="connsiteY67" fmla="*/ 305098 h 475662"/>
              <a:gd name="connsiteX68" fmla="*/ 278011 w 476250"/>
              <a:gd name="connsiteY68" fmla="*/ 315813 h 475662"/>
              <a:gd name="connsiteX69" fmla="*/ 278309 w 476250"/>
              <a:gd name="connsiteY69" fmla="*/ 318492 h 475662"/>
              <a:gd name="connsiteX70" fmla="*/ 276225 w 476250"/>
              <a:gd name="connsiteY70" fmla="*/ 326231 h 475662"/>
              <a:gd name="connsiteX71" fmla="*/ 268486 w 476250"/>
              <a:gd name="connsiteY71" fmla="*/ 334566 h 475662"/>
              <a:gd name="connsiteX72" fmla="*/ 264319 w 476250"/>
              <a:gd name="connsiteY72" fmla="*/ 348555 h 475662"/>
              <a:gd name="connsiteX73" fmla="*/ 261342 w 476250"/>
              <a:gd name="connsiteY73" fmla="*/ 353913 h 475662"/>
              <a:gd name="connsiteX74" fmla="*/ 260152 w 476250"/>
              <a:gd name="connsiteY74" fmla="*/ 355104 h 475662"/>
              <a:gd name="connsiteX75" fmla="*/ 255984 w 476250"/>
              <a:gd name="connsiteY75" fmla="*/ 363141 h 475662"/>
              <a:gd name="connsiteX76" fmla="*/ 256282 w 476250"/>
              <a:gd name="connsiteY76" fmla="*/ 387548 h 475662"/>
              <a:gd name="connsiteX77" fmla="*/ 256877 w 476250"/>
              <a:gd name="connsiteY77" fmla="*/ 389930 h 475662"/>
              <a:gd name="connsiteX78" fmla="*/ 277416 w 476250"/>
              <a:gd name="connsiteY78" fmla="*/ 410170 h 475662"/>
              <a:gd name="connsiteX79" fmla="*/ 303014 w 476250"/>
              <a:gd name="connsiteY79" fmla="*/ 421184 h 475662"/>
              <a:gd name="connsiteX80" fmla="*/ 324148 w 476250"/>
              <a:gd name="connsiteY80" fmla="*/ 434578 h 475662"/>
              <a:gd name="connsiteX81" fmla="*/ 333375 w 476250"/>
              <a:gd name="connsiteY81" fmla="*/ 456902 h 475662"/>
              <a:gd name="connsiteX82" fmla="*/ 333375 w 476250"/>
              <a:gd name="connsiteY82" fmla="*/ 466130 h 475662"/>
              <a:gd name="connsiteX83" fmla="*/ 337059 w 476250"/>
              <a:gd name="connsiteY83" fmla="*/ 473646 h 475662"/>
              <a:gd name="connsiteX84" fmla="*/ 345281 w 476250"/>
              <a:gd name="connsiteY84" fmla="*/ 475357 h 475662"/>
              <a:gd name="connsiteX85" fmla="*/ 453330 w 476250"/>
              <a:gd name="connsiteY85" fmla="*/ 414635 h 475662"/>
              <a:gd name="connsiteX86" fmla="*/ 475952 w 476250"/>
              <a:gd name="connsiteY86" fmla="*/ 372963 h 475662"/>
              <a:gd name="connsiteX87" fmla="*/ 476250 w 476250"/>
              <a:gd name="connsiteY87" fmla="*/ 371177 h 475662"/>
              <a:gd name="connsiteX88" fmla="*/ 476250 w 476250"/>
              <a:gd name="connsiteY88" fmla="*/ 266402 h 475662"/>
              <a:gd name="connsiteX89" fmla="*/ 476250 w 476250"/>
              <a:gd name="connsiteY89" fmla="*/ 265807 h 475662"/>
              <a:gd name="connsiteX90" fmla="*/ 443508 w 476250"/>
              <a:gd name="connsiteY90" fmla="*/ 217587 h 475662"/>
              <a:gd name="connsiteX91" fmla="*/ 424160 w 476250"/>
              <a:gd name="connsiteY91" fmla="*/ 208062 h 475662"/>
              <a:gd name="connsiteX92" fmla="*/ 416123 w 476250"/>
              <a:gd name="connsiteY92" fmla="*/ 199727 h 475662"/>
              <a:gd name="connsiteX93" fmla="*/ 415528 w 476250"/>
              <a:gd name="connsiteY93" fmla="*/ 184249 h 475662"/>
              <a:gd name="connsiteX94" fmla="*/ 417016 w 476250"/>
              <a:gd name="connsiteY94" fmla="*/ 183059 h 475662"/>
              <a:gd name="connsiteX95" fmla="*/ 421481 w 476250"/>
              <a:gd name="connsiteY95" fmla="*/ 175320 h 475662"/>
              <a:gd name="connsiteX96" fmla="*/ 425946 w 476250"/>
              <a:gd name="connsiteY96" fmla="*/ 160734 h 475662"/>
              <a:gd name="connsiteX97" fmla="*/ 430411 w 476250"/>
              <a:gd name="connsiteY97" fmla="*/ 158055 h 475662"/>
              <a:gd name="connsiteX98" fmla="*/ 436364 w 476250"/>
              <a:gd name="connsiteY98" fmla="*/ 141982 h 475662"/>
              <a:gd name="connsiteX99" fmla="*/ 433090 w 476250"/>
              <a:gd name="connsiteY99" fmla="*/ 127992 h 475662"/>
              <a:gd name="connsiteX100" fmla="*/ 437257 w 476250"/>
              <a:gd name="connsiteY100" fmla="*/ 93464 h 475662"/>
              <a:gd name="connsiteX101" fmla="*/ 429518 w 476250"/>
              <a:gd name="connsiteY101" fmla="*/ 70247 h 475662"/>
              <a:gd name="connsiteX102" fmla="*/ 407789 w 476250"/>
              <a:gd name="connsiteY102" fmla="*/ 57448 h 475662"/>
              <a:gd name="connsiteX103" fmla="*/ 380405 w 476250"/>
              <a:gd name="connsiteY103" fmla="*/ 47327 h 475662"/>
              <a:gd name="connsiteX104" fmla="*/ 330101 w 476250"/>
              <a:gd name="connsiteY104" fmla="*/ 75605 h 475662"/>
              <a:gd name="connsiteX105" fmla="*/ 329208 w 476250"/>
              <a:gd name="connsiteY105" fmla="*/ 127397 h 475662"/>
              <a:gd name="connsiteX106" fmla="*/ 325636 w 476250"/>
              <a:gd name="connsiteY106" fmla="*/ 141982 h 475662"/>
              <a:gd name="connsiteX107" fmla="*/ 331589 w 476250"/>
              <a:gd name="connsiteY107" fmla="*/ 158055 h 475662"/>
              <a:gd name="connsiteX108" fmla="*/ 336352 w 476250"/>
              <a:gd name="connsiteY108" fmla="*/ 160734 h 475662"/>
              <a:gd name="connsiteX109" fmla="*/ 340816 w 476250"/>
              <a:gd name="connsiteY109" fmla="*/ 175617 h 475662"/>
              <a:gd name="connsiteX110" fmla="*/ 345281 w 476250"/>
              <a:gd name="connsiteY110" fmla="*/ 183059 h 475662"/>
              <a:gd name="connsiteX111" fmla="*/ 346770 w 476250"/>
              <a:gd name="connsiteY111" fmla="*/ 184249 h 475662"/>
              <a:gd name="connsiteX112" fmla="*/ 346174 w 476250"/>
              <a:gd name="connsiteY112" fmla="*/ 199430 h 475662"/>
              <a:gd name="connsiteX113" fmla="*/ 337245 w 476250"/>
              <a:gd name="connsiteY113" fmla="*/ 205383 h 475662"/>
              <a:gd name="connsiteX114" fmla="*/ 302419 w 476250"/>
              <a:gd name="connsiteY114" fmla="*/ 169962 h 475662"/>
              <a:gd name="connsiteX115" fmla="*/ 281583 w 476250"/>
              <a:gd name="connsiteY115" fmla="*/ 159841 h 475662"/>
              <a:gd name="connsiteX116" fmla="*/ 273248 w 476250"/>
              <a:gd name="connsiteY116" fmla="*/ 152102 h 475662"/>
              <a:gd name="connsiteX117" fmla="*/ 272653 w 476250"/>
              <a:gd name="connsiteY117" fmla="*/ 136624 h 475662"/>
              <a:gd name="connsiteX118" fmla="*/ 274141 w 476250"/>
              <a:gd name="connsiteY118" fmla="*/ 135434 h 475662"/>
              <a:gd name="connsiteX119" fmla="*/ 278606 w 476250"/>
              <a:gd name="connsiteY119" fmla="*/ 127695 h 475662"/>
              <a:gd name="connsiteX120" fmla="*/ 283071 w 476250"/>
              <a:gd name="connsiteY120" fmla="*/ 113109 h 475662"/>
              <a:gd name="connsiteX121" fmla="*/ 287536 w 476250"/>
              <a:gd name="connsiteY121" fmla="*/ 110430 h 475662"/>
              <a:gd name="connsiteX122" fmla="*/ 293489 w 476250"/>
              <a:gd name="connsiteY122" fmla="*/ 94357 h 475662"/>
              <a:gd name="connsiteX123" fmla="*/ 290215 w 476250"/>
              <a:gd name="connsiteY123" fmla="*/ 80367 h 475662"/>
              <a:gd name="connsiteX124" fmla="*/ 294382 w 476250"/>
              <a:gd name="connsiteY124" fmla="*/ 45839 h 475662"/>
              <a:gd name="connsiteX125" fmla="*/ 286643 w 476250"/>
              <a:gd name="connsiteY125" fmla="*/ 22622 h 475662"/>
              <a:gd name="connsiteX126" fmla="*/ 264914 w 476250"/>
              <a:gd name="connsiteY126" fmla="*/ 9823 h 475662"/>
              <a:gd name="connsiteX127" fmla="*/ 237530 w 476250"/>
              <a:gd name="connsiteY127" fmla="*/ 0 h 475662"/>
              <a:gd name="connsiteX128" fmla="*/ 237530 w 476250"/>
              <a:gd name="connsiteY128" fmla="*/ 19050 h 475662"/>
              <a:gd name="connsiteX129" fmla="*/ 237827 w 476250"/>
              <a:gd name="connsiteY129" fmla="*/ 19050 h 475662"/>
              <a:gd name="connsiteX130" fmla="*/ 253008 w 476250"/>
              <a:gd name="connsiteY130" fmla="*/ 22920 h 475662"/>
              <a:gd name="connsiteX131" fmla="*/ 260152 w 476250"/>
              <a:gd name="connsiteY131" fmla="*/ 27682 h 475662"/>
              <a:gd name="connsiteX132" fmla="*/ 271165 w 476250"/>
              <a:gd name="connsiteY132" fmla="*/ 33933 h 475662"/>
              <a:gd name="connsiteX133" fmla="*/ 275630 w 476250"/>
              <a:gd name="connsiteY133" fmla="*/ 47327 h 475662"/>
              <a:gd name="connsiteX134" fmla="*/ 270867 w 476250"/>
              <a:gd name="connsiteY134" fmla="*/ 79474 h 475662"/>
              <a:gd name="connsiteX135" fmla="*/ 274141 w 476250"/>
              <a:gd name="connsiteY135" fmla="*/ 89892 h 475662"/>
              <a:gd name="connsiteX136" fmla="*/ 274439 w 476250"/>
              <a:gd name="connsiteY136" fmla="*/ 91976 h 475662"/>
              <a:gd name="connsiteX137" fmla="*/ 272355 w 476250"/>
              <a:gd name="connsiteY137" fmla="*/ 98524 h 475662"/>
              <a:gd name="connsiteX138" fmla="*/ 265509 w 476250"/>
              <a:gd name="connsiteY138" fmla="*/ 106859 h 475662"/>
              <a:gd name="connsiteX139" fmla="*/ 261342 w 476250"/>
              <a:gd name="connsiteY139" fmla="*/ 119360 h 475662"/>
              <a:gd name="connsiteX140" fmla="*/ 258663 w 476250"/>
              <a:gd name="connsiteY140" fmla="*/ 124123 h 475662"/>
              <a:gd name="connsiteX141" fmla="*/ 258663 w 476250"/>
              <a:gd name="connsiteY141" fmla="*/ 124718 h 475662"/>
              <a:gd name="connsiteX142" fmla="*/ 253603 w 476250"/>
              <a:gd name="connsiteY142" fmla="*/ 133052 h 475662"/>
              <a:gd name="connsiteX143" fmla="*/ 254198 w 476250"/>
              <a:gd name="connsiteY143" fmla="*/ 155674 h 475662"/>
              <a:gd name="connsiteX144" fmla="*/ 254794 w 476250"/>
              <a:gd name="connsiteY144" fmla="*/ 158055 h 475662"/>
              <a:gd name="connsiteX145" fmla="*/ 272058 w 476250"/>
              <a:gd name="connsiteY145" fmla="*/ 176510 h 475662"/>
              <a:gd name="connsiteX146" fmla="*/ 293787 w 476250"/>
              <a:gd name="connsiteY146" fmla="*/ 186928 h 475662"/>
              <a:gd name="connsiteX147" fmla="*/ 322957 w 476250"/>
              <a:gd name="connsiteY147" fmla="*/ 221754 h 475662"/>
              <a:gd name="connsiteX148" fmla="*/ 327794 w 476250"/>
              <a:gd name="connsiteY148" fmla="*/ 228488 h 475662"/>
              <a:gd name="connsiteX149" fmla="*/ 336054 w 476250"/>
              <a:gd name="connsiteY149" fmla="*/ 228898 h 475662"/>
              <a:gd name="connsiteX150" fmla="*/ 364629 w 476250"/>
              <a:gd name="connsiteY150" fmla="*/ 205680 h 475662"/>
              <a:gd name="connsiteX151" fmla="*/ 365224 w 476250"/>
              <a:gd name="connsiteY151" fmla="*/ 203299 h 475662"/>
              <a:gd name="connsiteX152" fmla="*/ 365820 w 476250"/>
              <a:gd name="connsiteY152" fmla="*/ 180677 h 475662"/>
              <a:gd name="connsiteX153" fmla="*/ 361652 w 476250"/>
              <a:gd name="connsiteY153" fmla="*/ 172641 h 475662"/>
              <a:gd name="connsiteX154" fmla="*/ 361355 w 476250"/>
              <a:gd name="connsiteY154" fmla="*/ 172641 h 475662"/>
              <a:gd name="connsiteX155" fmla="*/ 360462 w 476250"/>
              <a:gd name="connsiteY155" fmla="*/ 171748 h 475662"/>
              <a:gd name="connsiteX156" fmla="*/ 357783 w 476250"/>
              <a:gd name="connsiteY156" fmla="*/ 166985 h 475662"/>
              <a:gd name="connsiteX157" fmla="*/ 353616 w 476250"/>
              <a:gd name="connsiteY157" fmla="*/ 154484 h 475662"/>
              <a:gd name="connsiteX158" fmla="*/ 346770 w 476250"/>
              <a:gd name="connsiteY158" fmla="*/ 146149 h 475662"/>
              <a:gd name="connsiteX159" fmla="*/ 344686 w 476250"/>
              <a:gd name="connsiteY159" fmla="*/ 139601 h 475662"/>
              <a:gd name="connsiteX160" fmla="*/ 344984 w 476250"/>
              <a:gd name="connsiteY160" fmla="*/ 137517 h 475662"/>
              <a:gd name="connsiteX161" fmla="*/ 348555 w 476250"/>
              <a:gd name="connsiteY161" fmla="*/ 127695 h 475662"/>
              <a:gd name="connsiteX162" fmla="*/ 347663 w 476250"/>
              <a:gd name="connsiteY162" fmla="*/ 83046 h 475662"/>
              <a:gd name="connsiteX163" fmla="*/ 380405 w 476250"/>
              <a:gd name="connsiteY163" fmla="*/ 66377 h 475662"/>
              <a:gd name="connsiteX164" fmla="*/ 380702 w 476250"/>
              <a:gd name="connsiteY164" fmla="*/ 66377 h 475662"/>
              <a:gd name="connsiteX165" fmla="*/ 395883 w 476250"/>
              <a:gd name="connsiteY165" fmla="*/ 70545 h 475662"/>
              <a:gd name="connsiteX166" fmla="*/ 403027 w 476250"/>
              <a:gd name="connsiteY166" fmla="*/ 75307 h 475662"/>
              <a:gd name="connsiteX167" fmla="*/ 414040 w 476250"/>
              <a:gd name="connsiteY167" fmla="*/ 81558 h 475662"/>
              <a:gd name="connsiteX168" fmla="*/ 418505 w 476250"/>
              <a:gd name="connsiteY168" fmla="*/ 94952 h 475662"/>
              <a:gd name="connsiteX169" fmla="*/ 413742 w 476250"/>
              <a:gd name="connsiteY169" fmla="*/ 127099 h 475662"/>
              <a:gd name="connsiteX170" fmla="*/ 417016 w 476250"/>
              <a:gd name="connsiteY170" fmla="*/ 137517 h 475662"/>
              <a:gd name="connsiteX171" fmla="*/ 417314 w 476250"/>
              <a:gd name="connsiteY171" fmla="*/ 139601 h 475662"/>
              <a:gd name="connsiteX172" fmla="*/ 415230 w 476250"/>
              <a:gd name="connsiteY172" fmla="*/ 146149 h 475662"/>
              <a:gd name="connsiteX173" fmla="*/ 408384 w 476250"/>
              <a:gd name="connsiteY173" fmla="*/ 154484 h 475662"/>
              <a:gd name="connsiteX174" fmla="*/ 404217 w 476250"/>
              <a:gd name="connsiteY174" fmla="*/ 166985 h 475662"/>
              <a:gd name="connsiteX175" fmla="*/ 401538 w 476250"/>
              <a:gd name="connsiteY175" fmla="*/ 171748 h 475662"/>
              <a:gd name="connsiteX176" fmla="*/ 401538 w 476250"/>
              <a:gd name="connsiteY176" fmla="*/ 172343 h 475662"/>
              <a:gd name="connsiteX177" fmla="*/ 396478 w 476250"/>
              <a:gd name="connsiteY177" fmla="*/ 180677 h 475662"/>
              <a:gd name="connsiteX178" fmla="*/ 397073 w 476250"/>
              <a:gd name="connsiteY178" fmla="*/ 203299 h 475662"/>
              <a:gd name="connsiteX179" fmla="*/ 397669 w 476250"/>
              <a:gd name="connsiteY179" fmla="*/ 205680 h 475662"/>
              <a:gd name="connsiteX180" fmla="*/ 414635 w 476250"/>
              <a:gd name="connsiteY180" fmla="*/ 224433 h 475662"/>
              <a:gd name="connsiteX181" fmla="*/ 434578 w 476250"/>
              <a:gd name="connsiteY181" fmla="*/ 234255 h 475662"/>
              <a:gd name="connsiteX182" fmla="*/ 457200 w 476250"/>
              <a:gd name="connsiteY182" fmla="*/ 266402 h 475662"/>
              <a:gd name="connsiteX183" fmla="*/ 457200 w 476250"/>
              <a:gd name="connsiteY183" fmla="*/ 266998 h 475662"/>
              <a:gd name="connsiteX184" fmla="*/ 457200 w 476250"/>
              <a:gd name="connsiteY184" fmla="*/ 370284 h 475662"/>
              <a:gd name="connsiteX185" fmla="*/ 438745 w 476250"/>
              <a:gd name="connsiteY185" fmla="*/ 402431 h 475662"/>
              <a:gd name="connsiteX186" fmla="*/ 351830 w 476250"/>
              <a:gd name="connsiteY186" fmla="*/ 453330 h 475662"/>
              <a:gd name="connsiteX187" fmla="*/ 337840 w 476250"/>
              <a:gd name="connsiteY187" fmla="*/ 421481 h 475662"/>
              <a:gd name="connsiteX188" fmla="*/ 310753 w 476250"/>
              <a:gd name="connsiteY188" fmla="*/ 403920 h 475662"/>
              <a:gd name="connsiteX189" fmla="*/ 286048 w 476250"/>
              <a:gd name="connsiteY189" fmla="*/ 393204 h 475662"/>
              <a:gd name="connsiteX190" fmla="*/ 275332 w 476250"/>
              <a:gd name="connsiteY190" fmla="*/ 383977 h 475662"/>
              <a:gd name="connsiteX191" fmla="*/ 275034 w 476250"/>
              <a:gd name="connsiteY191" fmla="*/ 366415 h 475662"/>
              <a:gd name="connsiteX192" fmla="*/ 276523 w 476250"/>
              <a:gd name="connsiteY192" fmla="*/ 364927 h 475662"/>
              <a:gd name="connsiteX193" fmla="*/ 281285 w 476250"/>
              <a:gd name="connsiteY193" fmla="*/ 356890 h 475662"/>
              <a:gd name="connsiteX194" fmla="*/ 286345 w 476250"/>
              <a:gd name="connsiteY194" fmla="*/ 340816 h 475662"/>
              <a:gd name="connsiteX195" fmla="*/ 291108 w 476250"/>
              <a:gd name="connsiteY195" fmla="*/ 337840 h 475662"/>
              <a:gd name="connsiteX196" fmla="*/ 297359 w 476250"/>
              <a:gd name="connsiteY196" fmla="*/ 320873 h 475662"/>
              <a:gd name="connsiteX197" fmla="*/ 293787 w 476250"/>
              <a:gd name="connsiteY197" fmla="*/ 305991 h 475662"/>
              <a:gd name="connsiteX198" fmla="*/ 298549 w 476250"/>
              <a:gd name="connsiteY198" fmla="*/ 268188 h 475662"/>
              <a:gd name="connsiteX199" fmla="*/ 290215 w 476250"/>
              <a:gd name="connsiteY199" fmla="*/ 243483 h 475662"/>
              <a:gd name="connsiteX200" fmla="*/ 267295 w 476250"/>
              <a:gd name="connsiteY200" fmla="*/ 229791 h 475662"/>
              <a:gd name="connsiteX201" fmla="*/ 237530 w 476250"/>
              <a:gd name="connsiteY201" fmla="*/ 218777 h 475662"/>
              <a:gd name="connsiteX202" fmla="*/ 183654 w 476250"/>
              <a:gd name="connsiteY202" fmla="*/ 248841 h 475662"/>
              <a:gd name="connsiteX203" fmla="*/ 182761 w 476250"/>
              <a:gd name="connsiteY203" fmla="*/ 305395 h 475662"/>
              <a:gd name="connsiteX204" fmla="*/ 178891 w 476250"/>
              <a:gd name="connsiteY204" fmla="*/ 320873 h 475662"/>
              <a:gd name="connsiteX205" fmla="*/ 185142 w 476250"/>
              <a:gd name="connsiteY205" fmla="*/ 338138 h 475662"/>
              <a:gd name="connsiteX206" fmla="*/ 190202 w 476250"/>
              <a:gd name="connsiteY206" fmla="*/ 340816 h 475662"/>
              <a:gd name="connsiteX207" fmla="*/ 194965 w 476250"/>
              <a:gd name="connsiteY207" fmla="*/ 357188 h 475662"/>
              <a:gd name="connsiteX208" fmla="*/ 200025 w 476250"/>
              <a:gd name="connsiteY208" fmla="*/ 365224 h 475662"/>
              <a:gd name="connsiteX209" fmla="*/ 201513 w 476250"/>
              <a:gd name="connsiteY209" fmla="*/ 366415 h 475662"/>
              <a:gd name="connsiteX210" fmla="*/ 201216 w 476250"/>
              <a:gd name="connsiteY210" fmla="*/ 383977 h 475662"/>
              <a:gd name="connsiteX211" fmla="*/ 190500 w 476250"/>
              <a:gd name="connsiteY211" fmla="*/ 393204 h 475662"/>
              <a:gd name="connsiteX212" fmla="*/ 165497 w 476250"/>
              <a:gd name="connsiteY212" fmla="*/ 403920 h 475662"/>
              <a:gd name="connsiteX213" fmla="*/ 138410 w 476250"/>
              <a:gd name="connsiteY213" fmla="*/ 421481 h 475662"/>
              <a:gd name="connsiteX214" fmla="*/ 124420 w 476250"/>
              <a:gd name="connsiteY214" fmla="*/ 453330 h 475662"/>
              <a:gd name="connsiteX215" fmla="*/ 37505 w 476250"/>
              <a:gd name="connsiteY215" fmla="*/ 402431 h 475662"/>
              <a:gd name="connsiteX216" fmla="*/ 19050 w 476250"/>
              <a:gd name="connsiteY216" fmla="*/ 370284 h 475662"/>
              <a:gd name="connsiteX217" fmla="*/ 19050 w 476250"/>
              <a:gd name="connsiteY217" fmla="*/ 266402 h 475662"/>
              <a:gd name="connsiteX218" fmla="*/ 41672 w 476250"/>
              <a:gd name="connsiteY218" fmla="*/ 234255 h 475662"/>
              <a:gd name="connsiteX219" fmla="*/ 61615 w 476250"/>
              <a:gd name="connsiteY219" fmla="*/ 224433 h 475662"/>
              <a:gd name="connsiteX220" fmla="*/ 78581 w 476250"/>
              <a:gd name="connsiteY220" fmla="*/ 205680 h 475662"/>
              <a:gd name="connsiteX221" fmla="*/ 79177 w 476250"/>
              <a:gd name="connsiteY221" fmla="*/ 203299 h 475662"/>
              <a:gd name="connsiteX222" fmla="*/ 79772 w 476250"/>
              <a:gd name="connsiteY222" fmla="*/ 180677 h 475662"/>
              <a:gd name="connsiteX223" fmla="*/ 75605 w 476250"/>
              <a:gd name="connsiteY223" fmla="*/ 172641 h 475662"/>
              <a:gd name="connsiteX224" fmla="*/ 75307 w 476250"/>
              <a:gd name="connsiteY224" fmla="*/ 172641 h 475662"/>
              <a:gd name="connsiteX225" fmla="*/ 74712 w 476250"/>
              <a:gd name="connsiteY225" fmla="*/ 171748 h 475662"/>
              <a:gd name="connsiteX226" fmla="*/ 72033 w 476250"/>
              <a:gd name="connsiteY226" fmla="*/ 166985 h 475662"/>
              <a:gd name="connsiteX227" fmla="*/ 67866 w 476250"/>
              <a:gd name="connsiteY227" fmla="*/ 154484 h 475662"/>
              <a:gd name="connsiteX228" fmla="*/ 61020 w 476250"/>
              <a:gd name="connsiteY228" fmla="*/ 146149 h 475662"/>
              <a:gd name="connsiteX229" fmla="*/ 58936 w 476250"/>
              <a:gd name="connsiteY229" fmla="*/ 139601 h 475662"/>
              <a:gd name="connsiteX230" fmla="*/ 59234 w 476250"/>
              <a:gd name="connsiteY230" fmla="*/ 137517 h 475662"/>
              <a:gd name="connsiteX231" fmla="*/ 62508 w 476250"/>
              <a:gd name="connsiteY231" fmla="*/ 127099 h 475662"/>
              <a:gd name="connsiteX232" fmla="*/ 57745 w 476250"/>
              <a:gd name="connsiteY232" fmla="*/ 94952 h 475662"/>
              <a:gd name="connsiteX233" fmla="*/ 61913 w 476250"/>
              <a:gd name="connsiteY233" fmla="*/ 81558 h 475662"/>
              <a:gd name="connsiteX234" fmla="*/ 73223 w 476250"/>
              <a:gd name="connsiteY234" fmla="*/ 75307 h 475662"/>
              <a:gd name="connsiteX235" fmla="*/ 80367 w 476250"/>
              <a:gd name="connsiteY235" fmla="*/ 70545 h 475662"/>
              <a:gd name="connsiteX236" fmla="*/ 95548 w 476250"/>
              <a:gd name="connsiteY236" fmla="*/ 66377 h 475662"/>
              <a:gd name="connsiteX237" fmla="*/ 95845 w 476250"/>
              <a:gd name="connsiteY237" fmla="*/ 66377 h 475662"/>
              <a:gd name="connsiteX238" fmla="*/ 128588 w 476250"/>
              <a:gd name="connsiteY238" fmla="*/ 83046 h 475662"/>
              <a:gd name="connsiteX239" fmla="*/ 127695 w 476250"/>
              <a:gd name="connsiteY239" fmla="*/ 127695 h 475662"/>
              <a:gd name="connsiteX240" fmla="*/ 131564 w 476250"/>
              <a:gd name="connsiteY240" fmla="*/ 137815 h 475662"/>
              <a:gd name="connsiteX241" fmla="*/ 131564 w 476250"/>
              <a:gd name="connsiteY241" fmla="*/ 139601 h 475662"/>
              <a:gd name="connsiteX242" fmla="*/ 129480 w 476250"/>
              <a:gd name="connsiteY242" fmla="*/ 146149 h 475662"/>
              <a:gd name="connsiteX243" fmla="*/ 122634 w 476250"/>
              <a:gd name="connsiteY243" fmla="*/ 154484 h 475662"/>
              <a:gd name="connsiteX244" fmla="*/ 118467 w 476250"/>
              <a:gd name="connsiteY244" fmla="*/ 166985 h 475662"/>
              <a:gd name="connsiteX245" fmla="*/ 115788 w 476250"/>
              <a:gd name="connsiteY245" fmla="*/ 171748 h 475662"/>
              <a:gd name="connsiteX246" fmla="*/ 115491 w 476250"/>
              <a:gd name="connsiteY246" fmla="*/ 172343 h 475662"/>
              <a:gd name="connsiteX247" fmla="*/ 110430 w 476250"/>
              <a:gd name="connsiteY247" fmla="*/ 180677 h 475662"/>
              <a:gd name="connsiteX248" fmla="*/ 111026 w 476250"/>
              <a:gd name="connsiteY248" fmla="*/ 203299 h 475662"/>
              <a:gd name="connsiteX249" fmla="*/ 111621 w 476250"/>
              <a:gd name="connsiteY249" fmla="*/ 205680 h 475662"/>
              <a:gd name="connsiteX250" fmla="*/ 140196 w 476250"/>
              <a:gd name="connsiteY250" fmla="*/ 228898 h 475662"/>
              <a:gd name="connsiteX251" fmla="*/ 148456 w 476250"/>
              <a:gd name="connsiteY251" fmla="*/ 228488 h 475662"/>
              <a:gd name="connsiteX252" fmla="*/ 153293 w 476250"/>
              <a:gd name="connsiteY252" fmla="*/ 221754 h 475662"/>
              <a:gd name="connsiteX253" fmla="*/ 182463 w 476250"/>
              <a:gd name="connsiteY253" fmla="*/ 186928 h 475662"/>
              <a:gd name="connsiteX254" fmla="*/ 204490 w 476250"/>
              <a:gd name="connsiteY254" fmla="*/ 176510 h 475662"/>
              <a:gd name="connsiteX255" fmla="*/ 221754 w 476250"/>
              <a:gd name="connsiteY255" fmla="*/ 158055 h 475662"/>
              <a:gd name="connsiteX256" fmla="*/ 222349 w 476250"/>
              <a:gd name="connsiteY256" fmla="*/ 155674 h 475662"/>
              <a:gd name="connsiteX257" fmla="*/ 222945 w 476250"/>
              <a:gd name="connsiteY257" fmla="*/ 133052 h 475662"/>
              <a:gd name="connsiteX258" fmla="*/ 218777 w 476250"/>
              <a:gd name="connsiteY258" fmla="*/ 125016 h 475662"/>
              <a:gd name="connsiteX259" fmla="*/ 218480 w 476250"/>
              <a:gd name="connsiteY259" fmla="*/ 125016 h 475662"/>
              <a:gd name="connsiteX260" fmla="*/ 217587 w 476250"/>
              <a:gd name="connsiteY260" fmla="*/ 124123 h 475662"/>
              <a:gd name="connsiteX261" fmla="*/ 214908 w 476250"/>
              <a:gd name="connsiteY261" fmla="*/ 119360 h 475662"/>
              <a:gd name="connsiteX262" fmla="*/ 210741 w 476250"/>
              <a:gd name="connsiteY262" fmla="*/ 106859 h 475662"/>
              <a:gd name="connsiteX263" fmla="*/ 203895 w 476250"/>
              <a:gd name="connsiteY263" fmla="*/ 98524 h 475662"/>
              <a:gd name="connsiteX264" fmla="*/ 201811 w 476250"/>
              <a:gd name="connsiteY264" fmla="*/ 91976 h 475662"/>
              <a:gd name="connsiteX265" fmla="*/ 202109 w 476250"/>
              <a:gd name="connsiteY265" fmla="*/ 89892 h 475662"/>
              <a:gd name="connsiteX266" fmla="*/ 205680 w 476250"/>
              <a:gd name="connsiteY266" fmla="*/ 80070 h 475662"/>
              <a:gd name="connsiteX267" fmla="*/ 204788 w 476250"/>
              <a:gd name="connsiteY267" fmla="*/ 35719 h 475662"/>
              <a:gd name="connsiteX268" fmla="*/ 237530 w 476250"/>
              <a:gd name="connsiteY268" fmla="*/ 19050 h 475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476250" h="475662">
                <a:moveTo>
                  <a:pt x="237530" y="0"/>
                </a:moveTo>
                <a:cubicBezTo>
                  <a:pt x="212303" y="446"/>
                  <a:pt x="194518" y="11348"/>
                  <a:pt x="187226" y="27980"/>
                </a:cubicBezTo>
                <a:cubicBezTo>
                  <a:pt x="180529" y="43197"/>
                  <a:pt x="182054" y="61206"/>
                  <a:pt x="186333" y="79772"/>
                </a:cubicBezTo>
                <a:cubicBezTo>
                  <a:pt x="183803" y="83530"/>
                  <a:pt x="182054" y="88292"/>
                  <a:pt x="182761" y="94357"/>
                </a:cubicBezTo>
                <a:cubicBezTo>
                  <a:pt x="183580" y="101240"/>
                  <a:pt x="185551" y="106412"/>
                  <a:pt x="188714" y="110430"/>
                </a:cubicBezTo>
                <a:cubicBezTo>
                  <a:pt x="189979" y="112030"/>
                  <a:pt x="191914" y="112068"/>
                  <a:pt x="193477" y="113109"/>
                </a:cubicBezTo>
                <a:cubicBezTo>
                  <a:pt x="194593" y="118318"/>
                  <a:pt x="195783" y="123713"/>
                  <a:pt x="197941" y="127992"/>
                </a:cubicBezTo>
                <a:cubicBezTo>
                  <a:pt x="199355" y="130783"/>
                  <a:pt x="200769" y="133238"/>
                  <a:pt x="202406" y="135434"/>
                </a:cubicBezTo>
                <a:cubicBezTo>
                  <a:pt x="202741" y="135917"/>
                  <a:pt x="203560" y="136178"/>
                  <a:pt x="203895" y="136624"/>
                </a:cubicBezTo>
                <a:cubicBezTo>
                  <a:pt x="203932" y="141945"/>
                  <a:pt x="203709" y="146633"/>
                  <a:pt x="203299" y="152102"/>
                </a:cubicBezTo>
                <a:cubicBezTo>
                  <a:pt x="202146" y="154595"/>
                  <a:pt x="199951" y="157014"/>
                  <a:pt x="194965" y="159841"/>
                </a:cubicBezTo>
                <a:cubicBezTo>
                  <a:pt x="189607" y="162892"/>
                  <a:pt x="182166" y="165943"/>
                  <a:pt x="174129" y="169962"/>
                </a:cubicBezTo>
                <a:cubicBezTo>
                  <a:pt x="161032" y="176510"/>
                  <a:pt x="146596" y="187226"/>
                  <a:pt x="139005" y="205383"/>
                </a:cubicBezTo>
                <a:cubicBezTo>
                  <a:pt x="135917" y="203374"/>
                  <a:pt x="130894" y="201253"/>
                  <a:pt x="130076" y="199430"/>
                </a:cubicBezTo>
                <a:cubicBezTo>
                  <a:pt x="129704" y="194109"/>
                  <a:pt x="129443" y="189458"/>
                  <a:pt x="129480" y="184249"/>
                </a:cubicBezTo>
                <a:cubicBezTo>
                  <a:pt x="129815" y="183803"/>
                  <a:pt x="130634" y="183542"/>
                  <a:pt x="130969" y="183059"/>
                </a:cubicBezTo>
                <a:cubicBezTo>
                  <a:pt x="132606" y="180863"/>
                  <a:pt x="134020" y="178408"/>
                  <a:pt x="135434" y="175617"/>
                </a:cubicBezTo>
                <a:cubicBezTo>
                  <a:pt x="137592" y="171338"/>
                  <a:pt x="138782" y="165943"/>
                  <a:pt x="139898" y="160734"/>
                </a:cubicBezTo>
                <a:cubicBezTo>
                  <a:pt x="141461" y="159693"/>
                  <a:pt x="143396" y="159655"/>
                  <a:pt x="144661" y="158055"/>
                </a:cubicBezTo>
                <a:cubicBezTo>
                  <a:pt x="147824" y="154037"/>
                  <a:pt x="149796" y="148865"/>
                  <a:pt x="150614" y="141982"/>
                </a:cubicBezTo>
                <a:cubicBezTo>
                  <a:pt x="151321" y="135917"/>
                  <a:pt x="149572" y="131155"/>
                  <a:pt x="147042" y="127397"/>
                </a:cubicBezTo>
                <a:cubicBezTo>
                  <a:pt x="151321" y="108831"/>
                  <a:pt x="152809" y="90860"/>
                  <a:pt x="146149" y="75605"/>
                </a:cubicBezTo>
                <a:cubicBezTo>
                  <a:pt x="138857" y="58936"/>
                  <a:pt x="121072" y="47774"/>
                  <a:pt x="95845" y="47327"/>
                </a:cubicBezTo>
                <a:cubicBezTo>
                  <a:pt x="85018" y="47327"/>
                  <a:pt x="75307" y="50639"/>
                  <a:pt x="68461" y="57448"/>
                </a:cubicBezTo>
                <a:cubicBezTo>
                  <a:pt x="59159" y="59345"/>
                  <a:pt x="51420" y="63773"/>
                  <a:pt x="46732" y="70247"/>
                </a:cubicBezTo>
                <a:cubicBezTo>
                  <a:pt x="41635" y="77316"/>
                  <a:pt x="39625" y="85502"/>
                  <a:pt x="38993" y="93464"/>
                </a:cubicBezTo>
                <a:cubicBezTo>
                  <a:pt x="37951" y="106970"/>
                  <a:pt x="40630" y="119323"/>
                  <a:pt x="43160" y="127992"/>
                </a:cubicBezTo>
                <a:cubicBezTo>
                  <a:pt x="40853" y="131676"/>
                  <a:pt x="39216" y="136215"/>
                  <a:pt x="39886" y="141982"/>
                </a:cubicBezTo>
                <a:cubicBezTo>
                  <a:pt x="40704" y="148865"/>
                  <a:pt x="42676" y="154037"/>
                  <a:pt x="45839" y="158055"/>
                </a:cubicBezTo>
                <a:cubicBezTo>
                  <a:pt x="47030" y="159581"/>
                  <a:pt x="48816" y="159693"/>
                  <a:pt x="50304" y="160734"/>
                </a:cubicBezTo>
                <a:cubicBezTo>
                  <a:pt x="51383" y="165906"/>
                  <a:pt x="52685" y="171041"/>
                  <a:pt x="54769" y="175320"/>
                </a:cubicBezTo>
                <a:cubicBezTo>
                  <a:pt x="56108" y="178110"/>
                  <a:pt x="57634" y="180826"/>
                  <a:pt x="59234" y="183059"/>
                </a:cubicBezTo>
                <a:cubicBezTo>
                  <a:pt x="59568" y="183542"/>
                  <a:pt x="60387" y="183803"/>
                  <a:pt x="60722" y="184249"/>
                </a:cubicBezTo>
                <a:cubicBezTo>
                  <a:pt x="60759" y="189570"/>
                  <a:pt x="60536" y="194258"/>
                  <a:pt x="60127" y="199727"/>
                </a:cubicBezTo>
                <a:cubicBezTo>
                  <a:pt x="58787" y="202741"/>
                  <a:pt x="56704" y="205346"/>
                  <a:pt x="52090" y="208062"/>
                </a:cubicBezTo>
                <a:cubicBezTo>
                  <a:pt x="47141" y="211001"/>
                  <a:pt x="40035" y="213792"/>
                  <a:pt x="32742" y="217587"/>
                </a:cubicBezTo>
                <a:cubicBezTo>
                  <a:pt x="18120" y="225214"/>
                  <a:pt x="1600" y="239018"/>
                  <a:pt x="0" y="265807"/>
                </a:cubicBezTo>
                <a:cubicBezTo>
                  <a:pt x="0" y="265993"/>
                  <a:pt x="0" y="266216"/>
                  <a:pt x="0" y="266402"/>
                </a:cubicBezTo>
                <a:lnTo>
                  <a:pt x="0" y="371177"/>
                </a:lnTo>
                <a:cubicBezTo>
                  <a:pt x="37" y="371773"/>
                  <a:pt x="149" y="372368"/>
                  <a:pt x="298" y="372963"/>
                </a:cubicBezTo>
                <a:cubicBezTo>
                  <a:pt x="298" y="372963"/>
                  <a:pt x="4428" y="392757"/>
                  <a:pt x="22920" y="414635"/>
                </a:cubicBezTo>
                <a:cubicBezTo>
                  <a:pt x="41411" y="436513"/>
                  <a:pt x="74228" y="461404"/>
                  <a:pt x="130969" y="475357"/>
                </a:cubicBezTo>
                <a:cubicBezTo>
                  <a:pt x="133834" y="476101"/>
                  <a:pt x="136847" y="475469"/>
                  <a:pt x="139192" y="473646"/>
                </a:cubicBezTo>
                <a:cubicBezTo>
                  <a:pt x="141498" y="471860"/>
                  <a:pt x="142875" y="469069"/>
                  <a:pt x="142875" y="466130"/>
                </a:cubicBezTo>
                <a:lnTo>
                  <a:pt x="142875" y="456902"/>
                </a:lnTo>
                <a:cubicBezTo>
                  <a:pt x="143619" y="446522"/>
                  <a:pt x="146968" y="439936"/>
                  <a:pt x="152102" y="434578"/>
                </a:cubicBezTo>
                <a:cubicBezTo>
                  <a:pt x="157349" y="429109"/>
                  <a:pt x="164864" y="424904"/>
                  <a:pt x="173236" y="421184"/>
                </a:cubicBezTo>
                <a:cubicBezTo>
                  <a:pt x="181608" y="417463"/>
                  <a:pt x="190760" y="414449"/>
                  <a:pt x="199132" y="410170"/>
                </a:cubicBezTo>
                <a:cubicBezTo>
                  <a:pt x="207504" y="405892"/>
                  <a:pt x="215987" y="399864"/>
                  <a:pt x="219670" y="389930"/>
                </a:cubicBezTo>
                <a:cubicBezTo>
                  <a:pt x="219968" y="389148"/>
                  <a:pt x="220154" y="388367"/>
                  <a:pt x="220266" y="387548"/>
                </a:cubicBezTo>
                <a:cubicBezTo>
                  <a:pt x="221121" y="377875"/>
                  <a:pt x="220563" y="371215"/>
                  <a:pt x="220563" y="363141"/>
                </a:cubicBezTo>
                <a:cubicBezTo>
                  <a:pt x="220638" y="359532"/>
                  <a:pt x="218703" y="356183"/>
                  <a:pt x="215503" y="354509"/>
                </a:cubicBezTo>
                <a:cubicBezTo>
                  <a:pt x="217066" y="355327"/>
                  <a:pt x="216098" y="354806"/>
                  <a:pt x="215205" y="353616"/>
                </a:cubicBezTo>
                <a:cubicBezTo>
                  <a:pt x="214313" y="352425"/>
                  <a:pt x="213308" y="350713"/>
                  <a:pt x="212229" y="348555"/>
                </a:cubicBezTo>
                <a:cubicBezTo>
                  <a:pt x="210071" y="344239"/>
                  <a:pt x="208211" y="338696"/>
                  <a:pt x="207764" y="334566"/>
                </a:cubicBezTo>
                <a:cubicBezTo>
                  <a:pt x="207318" y="330398"/>
                  <a:pt x="204155" y="327013"/>
                  <a:pt x="200025" y="326231"/>
                </a:cubicBezTo>
                <a:cubicBezTo>
                  <a:pt x="200025" y="326194"/>
                  <a:pt x="200025" y="325971"/>
                  <a:pt x="200025" y="325934"/>
                </a:cubicBezTo>
                <a:cubicBezTo>
                  <a:pt x="199541" y="325301"/>
                  <a:pt x="198239" y="323366"/>
                  <a:pt x="197644" y="318492"/>
                </a:cubicBezTo>
                <a:cubicBezTo>
                  <a:pt x="197458" y="316855"/>
                  <a:pt x="197979" y="316148"/>
                  <a:pt x="198239" y="315813"/>
                </a:cubicBezTo>
                <a:cubicBezTo>
                  <a:pt x="201402" y="313506"/>
                  <a:pt x="202816" y="309488"/>
                  <a:pt x="201811" y="305693"/>
                </a:cubicBezTo>
                <a:cubicBezTo>
                  <a:pt x="196639" y="285750"/>
                  <a:pt x="196304" y="267816"/>
                  <a:pt x="201216" y="256580"/>
                </a:cubicBezTo>
                <a:cubicBezTo>
                  <a:pt x="206127" y="245380"/>
                  <a:pt x="215205" y="238311"/>
                  <a:pt x="237530" y="237827"/>
                </a:cubicBezTo>
                <a:cubicBezTo>
                  <a:pt x="237716" y="237827"/>
                  <a:pt x="237679" y="237827"/>
                  <a:pt x="237827" y="237827"/>
                </a:cubicBezTo>
                <a:cubicBezTo>
                  <a:pt x="248283" y="237939"/>
                  <a:pt x="254124" y="241213"/>
                  <a:pt x="255091" y="242888"/>
                </a:cubicBezTo>
                <a:cubicBezTo>
                  <a:pt x="256505" y="245455"/>
                  <a:pt x="259035" y="247204"/>
                  <a:pt x="261938" y="247650"/>
                </a:cubicBezTo>
                <a:cubicBezTo>
                  <a:pt x="268895" y="248617"/>
                  <a:pt x="272467" y="250924"/>
                  <a:pt x="275034" y="254496"/>
                </a:cubicBezTo>
                <a:cubicBezTo>
                  <a:pt x="277602" y="258068"/>
                  <a:pt x="279016" y="263389"/>
                  <a:pt x="279499" y="269677"/>
                </a:cubicBezTo>
                <a:cubicBezTo>
                  <a:pt x="280467" y="282253"/>
                  <a:pt x="276746" y="298103"/>
                  <a:pt x="274439" y="305098"/>
                </a:cubicBezTo>
                <a:cubicBezTo>
                  <a:pt x="273137" y="309079"/>
                  <a:pt x="274588" y="313395"/>
                  <a:pt x="278011" y="315813"/>
                </a:cubicBezTo>
                <a:cubicBezTo>
                  <a:pt x="278197" y="316148"/>
                  <a:pt x="278495" y="316855"/>
                  <a:pt x="278309" y="318492"/>
                </a:cubicBezTo>
                <a:cubicBezTo>
                  <a:pt x="277713" y="323552"/>
                  <a:pt x="276634" y="325673"/>
                  <a:pt x="276225" y="326231"/>
                </a:cubicBezTo>
                <a:cubicBezTo>
                  <a:pt x="272095" y="327013"/>
                  <a:pt x="268932" y="330398"/>
                  <a:pt x="268486" y="334566"/>
                </a:cubicBezTo>
                <a:cubicBezTo>
                  <a:pt x="268039" y="338770"/>
                  <a:pt x="266440" y="344239"/>
                  <a:pt x="264319" y="348555"/>
                </a:cubicBezTo>
                <a:cubicBezTo>
                  <a:pt x="263277" y="350713"/>
                  <a:pt x="262198" y="352723"/>
                  <a:pt x="261342" y="353913"/>
                </a:cubicBezTo>
                <a:cubicBezTo>
                  <a:pt x="260896" y="354509"/>
                  <a:pt x="260338" y="354992"/>
                  <a:pt x="260152" y="355104"/>
                </a:cubicBezTo>
                <a:cubicBezTo>
                  <a:pt x="257510" y="356927"/>
                  <a:pt x="255947" y="359941"/>
                  <a:pt x="255984" y="363141"/>
                </a:cubicBezTo>
                <a:cubicBezTo>
                  <a:pt x="255984" y="371177"/>
                  <a:pt x="255389" y="377875"/>
                  <a:pt x="256282" y="387548"/>
                </a:cubicBezTo>
                <a:cubicBezTo>
                  <a:pt x="256394" y="388367"/>
                  <a:pt x="256580" y="389148"/>
                  <a:pt x="256877" y="389930"/>
                </a:cubicBezTo>
                <a:cubicBezTo>
                  <a:pt x="260561" y="399864"/>
                  <a:pt x="269081" y="405892"/>
                  <a:pt x="277416" y="410170"/>
                </a:cubicBezTo>
                <a:cubicBezTo>
                  <a:pt x="285750" y="414449"/>
                  <a:pt x="294680" y="417463"/>
                  <a:pt x="303014" y="421184"/>
                </a:cubicBezTo>
                <a:cubicBezTo>
                  <a:pt x="311348" y="424904"/>
                  <a:pt x="318939" y="429109"/>
                  <a:pt x="324148" y="434578"/>
                </a:cubicBezTo>
                <a:cubicBezTo>
                  <a:pt x="329245" y="439936"/>
                  <a:pt x="332631" y="446522"/>
                  <a:pt x="333375" y="456902"/>
                </a:cubicBezTo>
                <a:lnTo>
                  <a:pt x="333375" y="466130"/>
                </a:lnTo>
                <a:cubicBezTo>
                  <a:pt x="333375" y="469069"/>
                  <a:pt x="334752" y="471860"/>
                  <a:pt x="337059" y="473646"/>
                </a:cubicBezTo>
                <a:cubicBezTo>
                  <a:pt x="339403" y="475469"/>
                  <a:pt x="342416" y="476101"/>
                  <a:pt x="345281" y="475357"/>
                </a:cubicBezTo>
                <a:cubicBezTo>
                  <a:pt x="402022" y="461404"/>
                  <a:pt x="434839" y="436513"/>
                  <a:pt x="453330" y="414635"/>
                </a:cubicBezTo>
                <a:cubicBezTo>
                  <a:pt x="471822" y="392757"/>
                  <a:pt x="475952" y="372963"/>
                  <a:pt x="475952" y="372963"/>
                </a:cubicBezTo>
                <a:cubicBezTo>
                  <a:pt x="476101" y="372368"/>
                  <a:pt x="476213" y="371773"/>
                  <a:pt x="476250" y="371177"/>
                </a:cubicBezTo>
                <a:lnTo>
                  <a:pt x="476250" y="266402"/>
                </a:lnTo>
                <a:cubicBezTo>
                  <a:pt x="476250" y="266216"/>
                  <a:pt x="476250" y="265993"/>
                  <a:pt x="476250" y="265807"/>
                </a:cubicBezTo>
                <a:cubicBezTo>
                  <a:pt x="474650" y="239018"/>
                  <a:pt x="458130" y="225214"/>
                  <a:pt x="443508" y="217587"/>
                </a:cubicBezTo>
                <a:cubicBezTo>
                  <a:pt x="436215" y="213792"/>
                  <a:pt x="429109" y="211001"/>
                  <a:pt x="424160" y="208062"/>
                </a:cubicBezTo>
                <a:cubicBezTo>
                  <a:pt x="419547" y="205346"/>
                  <a:pt x="417463" y="202741"/>
                  <a:pt x="416123" y="199727"/>
                </a:cubicBezTo>
                <a:cubicBezTo>
                  <a:pt x="415714" y="194258"/>
                  <a:pt x="415491" y="189570"/>
                  <a:pt x="415528" y="184249"/>
                </a:cubicBezTo>
                <a:cubicBezTo>
                  <a:pt x="415863" y="183803"/>
                  <a:pt x="416682" y="183542"/>
                  <a:pt x="417016" y="183059"/>
                </a:cubicBezTo>
                <a:cubicBezTo>
                  <a:pt x="418616" y="180826"/>
                  <a:pt x="420142" y="178110"/>
                  <a:pt x="421481" y="175320"/>
                </a:cubicBezTo>
                <a:cubicBezTo>
                  <a:pt x="423565" y="171041"/>
                  <a:pt x="424867" y="165906"/>
                  <a:pt x="425946" y="160734"/>
                </a:cubicBezTo>
                <a:cubicBezTo>
                  <a:pt x="427434" y="159693"/>
                  <a:pt x="429220" y="159581"/>
                  <a:pt x="430411" y="158055"/>
                </a:cubicBezTo>
                <a:cubicBezTo>
                  <a:pt x="433574" y="154037"/>
                  <a:pt x="435546" y="148865"/>
                  <a:pt x="436364" y="141982"/>
                </a:cubicBezTo>
                <a:cubicBezTo>
                  <a:pt x="437034" y="136215"/>
                  <a:pt x="435397" y="131676"/>
                  <a:pt x="433090" y="127992"/>
                </a:cubicBezTo>
                <a:cubicBezTo>
                  <a:pt x="435620" y="119323"/>
                  <a:pt x="438299" y="106933"/>
                  <a:pt x="437257" y="93464"/>
                </a:cubicBezTo>
                <a:cubicBezTo>
                  <a:pt x="436625" y="85502"/>
                  <a:pt x="434615" y="77316"/>
                  <a:pt x="429518" y="70247"/>
                </a:cubicBezTo>
                <a:cubicBezTo>
                  <a:pt x="424830" y="63773"/>
                  <a:pt x="417091" y="59345"/>
                  <a:pt x="407789" y="57448"/>
                </a:cubicBezTo>
                <a:cubicBezTo>
                  <a:pt x="400943" y="50639"/>
                  <a:pt x="391232" y="47327"/>
                  <a:pt x="380405" y="47327"/>
                </a:cubicBezTo>
                <a:cubicBezTo>
                  <a:pt x="355178" y="47774"/>
                  <a:pt x="337393" y="58936"/>
                  <a:pt x="330101" y="75605"/>
                </a:cubicBezTo>
                <a:cubicBezTo>
                  <a:pt x="323441" y="90860"/>
                  <a:pt x="324929" y="108831"/>
                  <a:pt x="329208" y="127397"/>
                </a:cubicBezTo>
                <a:cubicBezTo>
                  <a:pt x="326678" y="131155"/>
                  <a:pt x="324929" y="135917"/>
                  <a:pt x="325636" y="141982"/>
                </a:cubicBezTo>
                <a:cubicBezTo>
                  <a:pt x="326455" y="148865"/>
                  <a:pt x="328426" y="154037"/>
                  <a:pt x="331589" y="158055"/>
                </a:cubicBezTo>
                <a:cubicBezTo>
                  <a:pt x="332854" y="159655"/>
                  <a:pt x="334789" y="159693"/>
                  <a:pt x="336352" y="160734"/>
                </a:cubicBezTo>
                <a:cubicBezTo>
                  <a:pt x="337468" y="165943"/>
                  <a:pt x="338658" y="171338"/>
                  <a:pt x="340816" y="175617"/>
                </a:cubicBezTo>
                <a:cubicBezTo>
                  <a:pt x="342230" y="178408"/>
                  <a:pt x="343644" y="180863"/>
                  <a:pt x="345281" y="183059"/>
                </a:cubicBezTo>
                <a:cubicBezTo>
                  <a:pt x="345616" y="183542"/>
                  <a:pt x="346435" y="183803"/>
                  <a:pt x="346770" y="184249"/>
                </a:cubicBezTo>
                <a:cubicBezTo>
                  <a:pt x="346807" y="189458"/>
                  <a:pt x="346546" y="194109"/>
                  <a:pt x="346174" y="199430"/>
                </a:cubicBezTo>
                <a:cubicBezTo>
                  <a:pt x="345356" y="201253"/>
                  <a:pt x="340333" y="203374"/>
                  <a:pt x="337245" y="205383"/>
                </a:cubicBezTo>
                <a:cubicBezTo>
                  <a:pt x="329692" y="187226"/>
                  <a:pt x="315478" y="176510"/>
                  <a:pt x="302419" y="169962"/>
                </a:cubicBezTo>
                <a:cubicBezTo>
                  <a:pt x="294419" y="165943"/>
                  <a:pt x="286941" y="162892"/>
                  <a:pt x="281583" y="159841"/>
                </a:cubicBezTo>
                <a:cubicBezTo>
                  <a:pt x="276597" y="157014"/>
                  <a:pt x="274402" y="154595"/>
                  <a:pt x="273248" y="152102"/>
                </a:cubicBezTo>
                <a:cubicBezTo>
                  <a:pt x="272839" y="146633"/>
                  <a:pt x="272616" y="141945"/>
                  <a:pt x="272653" y="136624"/>
                </a:cubicBezTo>
                <a:cubicBezTo>
                  <a:pt x="272988" y="136178"/>
                  <a:pt x="273807" y="135917"/>
                  <a:pt x="274141" y="135434"/>
                </a:cubicBezTo>
                <a:cubicBezTo>
                  <a:pt x="275741" y="133201"/>
                  <a:pt x="277267" y="130485"/>
                  <a:pt x="278606" y="127695"/>
                </a:cubicBezTo>
                <a:cubicBezTo>
                  <a:pt x="280690" y="123416"/>
                  <a:pt x="281992" y="118281"/>
                  <a:pt x="283071" y="113109"/>
                </a:cubicBezTo>
                <a:cubicBezTo>
                  <a:pt x="284559" y="112068"/>
                  <a:pt x="286345" y="111956"/>
                  <a:pt x="287536" y="110430"/>
                </a:cubicBezTo>
                <a:cubicBezTo>
                  <a:pt x="290699" y="106412"/>
                  <a:pt x="292671" y="101240"/>
                  <a:pt x="293489" y="94357"/>
                </a:cubicBezTo>
                <a:cubicBezTo>
                  <a:pt x="294159" y="88590"/>
                  <a:pt x="292522" y="84051"/>
                  <a:pt x="290215" y="80367"/>
                </a:cubicBezTo>
                <a:cubicBezTo>
                  <a:pt x="292745" y="71698"/>
                  <a:pt x="295424" y="59308"/>
                  <a:pt x="294382" y="45839"/>
                </a:cubicBezTo>
                <a:cubicBezTo>
                  <a:pt x="293750" y="37877"/>
                  <a:pt x="291740" y="29691"/>
                  <a:pt x="286643" y="22622"/>
                </a:cubicBezTo>
                <a:cubicBezTo>
                  <a:pt x="281955" y="16148"/>
                  <a:pt x="274216" y="11720"/>
                  <a:pt x="264914" y="9823"/>
                </a:cubicBezTo>
                <a:cubicBezTo>
                  <a:pt x="258068" y="3014"/>
                  <a:pt x="248283" y="0"/>
                  <a:pt x="237530" y="0"/>
                </a:cubicBezTo>
                <a:close/>
                <a:moveTo>
                  <a:pt x="237530" y="19050"/>
                </a:moveTo>
                <a:cubicBezTo>
                  <a:pt x="237716" y="19050"/>
                  <a:pt x="237641" y="19050"/>
                  <a:pt x="237827" y="19050"/>
                </a:cubicBezTo>
                <a:cubicBezTo>
                  <a:pt x="247315" y="19162"/>
                  <a:pt x="252375" y="21841"/>
                  <a:pt x="253008" y="22920"/>
                </a:cubicBezTo>
                <a:cubicBezTo>
                  <a:pt x="254496" y="25561"/>
                  <a:pt x="257138" y="27310"/>
                  <a:pt x="260152" y="27682"/>
                </a:cubicBezTo>
                <a:cubicBezTo>
                  <a:pt x="266365" y="28538"/>
                  <a:pt x="268895" y="30807"/>
                  <a:pt x="271165" y="33933"/>
                </a:cubicBezTo>
                <a:cubicBezTo>
                  <a:pt x="273434" y="37058"/>
                  <a:pt x="275183" y="41635"/>
                  <a:pt x="275630" y="47327"/>
                </a:cubicBezTo>
                <a:cubicBezTo>
                  <a:pt x="276523" y="58713"/>
                  <a:pt x="272988" y="73112"/>
                  <a:pt x="270867" y="79474"/>
                </a:cubicBezTo>
                <a:cubicBezTo>
                  <a:pt x="269677" y="83307"/>
                  <a:pt x="270979" y="87437"/>
                  <a:pt x="274141" y="89892"/>
                </a:cubicBezTo>
                <a:cubicBezTo>
                  <a:pt x="274290" y="90078"/>
                  <a:pt x="274588" y="90599"/>
                  <a:pt x="274439" y="91976"/>
                </a:cubicBezTo>
                <a:cubicBezTo>
                  <a:pt x="273918" y="96329"/>
                  <a:pt x="272690" y="98078"/>
                  <a:pt x="272355" y="98524"/>
                </a:cubicBezTo>
                <a:cubicBezTo>
                  <a:pt x="268560" y="99603"/>
                  <a:pt x="265844" y="102915"/>
                  <a:pt x="265509" y="106859"/>
                </a:cubicBezTo>
                <a:cubicBezTo>
                  <a:pt x="265100" y="110617"/>
                  <a:pt x="263240" y="115453"/>
                  <a:pt x="261342" y="119360"/>
                </a:cubicBezTo>
                <a:cubicBezTo>
                  <a:pt x="260375" y="121295"/>
                  <a:pt x="259407" y="123081"/>
                  <a:pt x="258663" y="124123"/>
                </a:cubicBezTo>
                <a:cubicBezTo>
                  <a:pt x="257919" y="125164"/>
                  <a:pt x="256952" y="125611"/>
                  <a:pt x="258663" y="124718"/>
                </a:cubicBezTo>
                <a:cubicBezTo>
                  <a:pt x="255575" y="126355"/>
                  <a:pt x="253640" y="129555"/>
                  <a:pt x="253603" y="133052"/>
                </a:cubicBezTo>
                <a:cubicBezTo>
                  <a:pt x="253603" y="140419"/>
                  <a:pt x="253380" y="146707"/>
                  <a:pt x="254198" y="155674"/>
                </a:cubicBezTo>
                <a:cubicBezTo>
                  <a:pt x="254310" y="156493"/>
                  <a:pt x="254496" y="157274"/>
                  <a:pt x="254794" y="158055"/>
                </a:cubicBezTo>
                <a:cubicBezTo>
                  <a:pt x="258068" y="166836"/>
                  <a:pt x="265026" y="172492"/>
                  <a:pt x="272058" y="176510"/>
                </a:cubicBezTo>
                <a:cubicBezTo>
                  <a:pt x="279090" y="180529"/>
                  <a:pt x="286717" y="183393"/>
                  <a:pt x="293787" y="186928"/>
                </a:cubicBezTo>
                <a:cubicBezTo>
                  <a:pt x="307963" y="194035"/>
                  <a:pt x="319460" y="201737"/>
                  <a:pt x="322957" y="221754"/>
                </a:cubicBezTo>
                <a:cubicBezTo>
                  <a:pt x="323441" y="224619"/>
                  <a:pt x="325227" y="227112"/>
                  <a:pt x="327794" y="228488"/>
                </a:cubicBezTo>
                <a:cubicBezTo>
                  <a:pt x="330324" y="229865"/>
                  <a:pt x="333375" y="230014"/>
                  <a:pt x="336054" y="228898"/>
                </a:cubicBezTo>
                <a:cubicBezTo>
                  <a:pt x="347402" y="224284"/>
                  <a:pt x="359755" y="218815"/>
                  <a:pt x="364629" y="205680"/>
                </a:cubicBezTo>
                <a:cubicBezTo>
                  <a:pt x="364927" y="204899"/>
                  <a:pt x="365113" y="204118"/>
                  <a:pt x="365224" y="203299"/>
                </a:cubicBezTo>
                <a:cubicBezTo>
                  <a:pt x="366043" y="194332"/>
                  <a:pt x="365820" y="188044"/>
                  <a:pt x="365820" y="180677"/>
                </a:cubicBezTo>
                <a:cubicBezTo>
                  <a:pt x="365857" y="177478"/>
                  <a:pt x="364294" y="174464"/>
                  <a:pt x="361652" y="172641"/>
                </a:cubicBezTo>
                <a:cubicBezTo>
                  <a:pt x="361690" y="172678"/>
                  <a:pt x="361355" y="172641"/>
                  <a:pt x="361355" y="172641"/>
                </a:cubicBezTo>
                <a:cubicBezTo>
                  <a:pt x="361131" y="172455"/>
                  <a:pt x="360797" y="172194"/>
                  <a:pt x="360462" y="171748"/>
                </a:cubicBezTo>
                <a:cubicBezTo>
                  <a:pt x="359680" y="170706"/>
                  <a:pt x="358750" y="168920"/>
                  <a:pt x="357783" y="166985"/>
                </a:cubicBezTo>
                <a:cubicBezTo>
                  <a:pt x="355811" y="163078"/>
                  <a:pt x="354025" y="158167"/>
                  <a:pt x="353616" y="154484"/>
                </a:cubicBezTo>
                <a:cubicBezTo>
                  <a:pt x="353281" y="150540"/>
                  <a:pt x="350565" y="147228"/>
                  <a:pt x="346770" y="146149"/>
                </a:cubicBezTo>
                <a:cubicBezTo>
                  <a:pt x="346435" y="145703"/>
                  <a:pt x="345207" y="143954"/>
                  <a:pt x="344686" y="139601"/>
                </a:cubicBezTo>
                <a:cubicBezTo>
                  <a:pt x="344537" y="138224"/>
                  <a:pt x="344835" y="137703"/>
                  <a:pt x="344984" y="137517"/>
                </a:cubicBezTo>
                <a:cubicBezTo>
                  <a:pt x="348035" y="135248"/>
                  <a:pt x="349411" y="131378"/>
                  <a:pt x="348555" y="127695"/>
                </a:cubicBezTo>
                <a:cubicBezTo>
                  <a:pt x="343830" y="109426"/>
                  <a:pt x="343272" y="93129"/>
                  <a:pt x="347663" y="83046"/>
                </a:cubicBezTo>
                <a:cubicBezTo>
                  <a:pt x="352053" y="73037"/>
                  <a:pt x="360127" y="66824"/>
                  <a:pt x="380405" y="66377"/>
                </a:cubicBezTo>
                <a:cubicBezTo>
                  <a:pt x="380591" y="66377"/>
                  <a:pt x="380516" y="66377"/>
                  <a:pt x="380702" y="66377"/>
                </a:cubicBezTo>
                <a:cubicBezTo>
                  <a:pt x="390116" y="66489"/>
                  <a:pt x="395250" y="69391"/>
                  <a:pt x="395883" y="70545"/>
                </a:cubicBezTo>
                <a:cubicBezTo>
                  <a:pt x="397371" y="73186"/>
                  <a:pt x="400013" y="74935"/>
                  <a:pt x="403027" y="75307"/>
                </a:cubicBezTo>
                <a:cubicBezTo>
                  <a:pt x="409240" y="76163"/>
                  <a:pt x="411770" y="78432"/>
                  <a:pt x="414040" y="81558"/>
                </a:cubicBezTo>
                <a:cubicBezTo>
                  <a:pt x="416309" y="84683"/>
                  <a:pt x="418058" y="89260"/>
                  <a:pt x="418505" y="94952"/>
                </a:cubicBezTo>
                <a:cubicBezTo>
                  <a:pt x="419398" y="106338"/>
                  <a:pt x="415863" y="120737"/>
                  <a:pt x="413742" y="127099"/>
                </a:cubicBezTo>
                <a:cubicBezTo>
                  <a:pt x="412552" y="130932"/>
                  <a:pt x="413854" y="135062"/>
                  <a:pt x="417016" y="137517"/>
                </a:cubicBezTo>
                <a:cubicBezTo>
                  <a:pt x="417165" y="137703"/>
                  <a:pt x="417463" y="138224"/>
                  <a:pt x="417314" y="139601"/>
                </a:cubicBezTo>
                <a:cubicBezTo>
                  <a:pt x="416793" y="143954"/>
                  <a:pt x="415565" y="145703"/>
                  <a:pt x="415230" y="146149"/>
                </a:cubicBezTo>
                <a:cubicBezTo>
                  <a:pt x="411435" y="147228"/>
                  <a:pt x="408719" y="150540"/>
                  <a:pt x="408384" y="154484"/>
                </a:cubicBezTo>
                <a:cubicBezTo>
                  <a:pt x="407975" y="158242"/>
                  <a:pt x="406115" y="163078"/>
                  <a:pt x="404217" y="166985"/>
                </a:cubicBezTo>
                <a:cubicBezTo>
                  <a:pt x="403250" y="168920"/>
                  <a:pt x="402282" y="170706"/>
                  <a:pt x="401538" y="171748"/>
                </a:cubicBezTo>
                <a:cubicBezTo>
                  <a:pt x="400794" y="172789"/>
                  <a:pt x="399827" y="173236"/>
                  <a:pt x="401538" y="172343"/>
                </a:cubicBezTo>
                <a:cubicBezTo>
                  <a:pt x="398450" y="173980"/>
                  <a:pt x="396515" y="177180"/>
                  <a:pt x="396478" y="180677"/>
                </a:cubicBezTo>
                <a:cubicBezTo>
                  <a:pt x="396478" y="188044"/>
                  <a:pt x="396255" y="194370"/>
                  <a:pt x="397073" y="203299"/>
                </a:cubicBezTo>
                <a:cubicBezTo>
                  <a:pt x="397185" y="204118"/>
                  <a:pt x="397371" y="204899"/>
                  <a:pt x="397669" y="205680"/>
                </a:cubicBezTo>
                <a:cubicBezTo>
                  <a:pt x="400943" y="214499"/>
                  <a:pt x="407863" y="220414"/>
                  <a:pt x="414635" y="224433"/>
                </a:cubicBezTo>
                <a:cubicBezTo>
                  <a:pt x="421407" y="228451"/>
                  <a:pt x="428327" y="230981"/>
                  <a:pt x="434578" y="234255"/>
                </a:cubicBezTo>
                <a:cubicBezTo>
                  <a:pt x="446931" y="240692"/>
                  <a:pt x="455823" y="246794"/>
                  <a:pt x="457200" y="266402"/>
                </a:cubicBezTo>
                <a:cubicBezTo>
                  <a:pt x="457200" y="266663"/>
                  <a:pt x="457200" y="266737"/>
                  <a:pt x="457200" y="266998"/>
                </a:cubicBezTo>
                <a:lnTo>
                  <a:pt x="457200" y="370284"/>
                </a:lnTo>
                <a:cubicBezTo>
                  <a:pt x="456940" y="371512"/>
                  <a:pt x="453926" y="384460"/>
                  <a:pt x="438745" y="402431"/>
                </a:cubicBezTo>
                <a:cubicBezTo>
                  <a:pt x="424086" y="419807"/>
                  <a:pt x="397446" y="439936"/>
                  <a:pt x="351830" y="453330"/>
                </a:cubicBezTo>
                <a:cubicBezTo>
                  <a:pt x="350379" y="440085"/>
                  <a:pt x="345207" y="429220"/>
                  <a:pt x="337840" y="421481"/>
                </a:cubicBezTo>
                <a:cubicBezTo>
                  <a:pt x="329878" y="413147"/>
                  <a:pt x="320055" y="408050"/>
                  <a:pt x="310753" y="403920"/>
                </a:cubicBezTo>
                <a:cubicBezTo>
                  <a:pt x="301451" y="399790"/>
                  <a:pt x="292596" y="396590"/>
                  <a:pt x="286048" y="393204"/>
                </a:cubicBezTo>
                <a:cubicBezTo>
                  <a:pt x="279871" y="390041"/>
                  <a:pt x="276746" y="387102"/>
                  <a:pt x="275332" y="383977"/>
                </a:cubicBezTo>
                <a:cubicBezTo>
                  <a:pt x="274848" y="377689"/>
                  <a:pt x="274997" y="372517"/>
                  <a:pt x="275034" y="366415"/>
                </a:cubicBezTo>
                <a:cubicBezTo>
                  <a:pt x="275406" y="365931"/>
                  <a:pt x="276151" y="365447"/>
                  <a:pt x="276523" y="364927"/>
                </a:cubicBezTo>
                <a:cubicBezTo>
                  <a:pt x="278234" y="362545"/>
                  <a:pt x="279834" y="359904"/>
                  <a:pt x="281285" y="356890"/>
                </a:cubicBezTo>
                <a:cubicBezTo>
                  <a:pt x="283592" y="352202"/>
                  <a:pt x="285192" y="346472"/>
                  <a:pt x="286345" y="340816"/>
                </a:cubicBezTo>
                <a:cubicBezTo>
                  <a:pt x="287982" y="339737"/>
                  <a:pt x="289806" y="339514"/>
                  <a:pt x="291108" y="337840"/>
                </a:cubicBezTo>
                <a:cubicBezTo>
                  <a:pt x="294419" y="333635"/>
                  <a:pt x="296466" y="328278"/>
                  <a:pt x="297359" y="320873"/>
                </a:cubicBezTo>
                <a:cubicBezTo>
                  <a:pt x="298103" y="314660"/>
                  <a:pt x="296280" y="309860"/>
                  <a:pt x="293787" y="305991"/>
                </a:cubicBezTo>
                <a:cubicBezTo>
                  <a:pt x="296540" y="296614"/>
                  <a:pt x="299703" y="282885"/>
                  <a:pt x="298549" y="268188"/>
                </a:cubicBezTo>
                <a:cubicBezTo>
                  <a:pt x="297880" y="259631"/>
                  <a:pt x="295647" y="250999"/>
                  <a:pt x="290215" y="243483"/>
                </a:cubicBezTo>
                <a:cubicBezTo>
                  <a:pt x="285266" y="236637"/>
                  <a:pt x="277155" y="231837"/>
                  <a:pt x="267295" y="229791"/>
                </a:cubicBezTo>
                <a:cubicBezTo>
                  <a:pt x="260114" y="222163"/>
                  <a:pt x="249473" y="218777"/>
                  <a:pt x="237530" y="218777"/>
                </a:cubicBezTo>
                <a:cubicBezTo>
                  <a:pt x="210294" y="219261"/>
                  <a:pt x="191467" y="230981"/>
                  <a:pt x="183654" y="248841"/>
                </a:cubicBezTo>
                <a:cubicBezTo>
                  <a:pt x="176436" y="265323"/>
                  <a:pt x="178036" y="285117"/>
                  <a:pt x="182761" y="305395"/>
                </a:cubicBezTo>
                <a:cubicBezTo>
                  <a:pt x="180008" y="309302"/>
                  <a:pt x="178110" y="314325"/>
                  <a:pt x="178891" y="320873"/>
                </a:cubicBezTo>
                <a:cubicBezTo>
                  <a:pt x="179784" y="328278"/>
                  <a:pt x="181831" y="333933"/>
                  <a:pt x="185142" y="338138"/>
                </a:cubicBezTo>
                <a:cubicBezTo>
                  <a:pt x="186482" y="339849"/>
                  <a:pt x="188528" y="339700"/>
                  <a:pt x="190202" y="340816"/>
                </a:cubicBezTo>
                <a:cubicBezTo>
                  <a:pt x="191393" y="346509"/>
                  <a:pt x="192621" y="352499"/>
                  <a:pt x="194965" y="357188"/>
                </a:cubicBezTo>
                <a:cubicBezTo>
                  <a:pt x="196453" y="360201"/>
                  <a:pt x="198276" y="362880"/>
                  <a:pt x="200025" y="365224"/>
                </a:cubicBezTo>
                <a:cubicBezTo>
                  <a:pt x="200397" y="365708"/>
                  <a:pt x="201141" y="365968"/>
                  <a:pt x="201513" y="366415"/>
                </a:cubicBezTo>
                <a:cubicBezTo>
                  <a:pt x="201550" y="372517"/>
                  <a:pt x="201699" y="377689"/>
                  <a:pt x="201216" y="383977"/>
                </a:cubicBezTo>
                <a:cubicBezTo>
                  <a:pt x="199802" y="387102"/>
                  <a:pt x="196714" y="390004"/>
                  <a:pt x="190500" y="393204"/>
                </a:cubicBezTo>
                <a:cubicBezTo>
                  <a:pt x="183914" y="396590"/>
                  <a:pt x="174836" y="399790"/>
                  <a:pt x="165497" y="403920"/>
                </a:cubicBezTo>
                <a:cubicBezTo>
                  <a:pt x="156158" y="408050"/>
                  <a:pt x="146410" y="413147"/>
                  <a:pt x="138410" y="421481"/>
                </a:cubicBezTo>
                <a:cubicBezTo>
                  <a:pt x="131006" y="429220"/>
                  <a:pt x="125909" y="440048"/>
                  <a:pt x="124420" y="453330"/>
                </a:cubicBezTo>
                <a:cubicBezTo>
                  <a:pt x="78805" y="439936"/>
                  <a:pt x="52164" y="419807"/>
                  <a:pt x="37505" y="402431"/>
                </a:cubicBezTo>
                <a:cubicBezTo>
                  <a:pt x="22324" y="384460"/>
                  <a:pt x="19310" y="371512"/>
                  <a:pt x="19050" y="370284"/>
                </a:cubicBezTo>
                <a:lnTo>
                  <a:pt x="19050" y="266402"/>
                </a:lnTo>
                <a:cubicBezTo>
                  <a:pt x="20427" y="246794"/>
                  <a:pt x="29319" y="240692"/>
                  <a:pt x="41672" y="234255"/>
                </a:cubicBezTo>
                <a:cubicBezTo>
                  <a:pt x="47923" y="230981"/>
                  <a:pt x="54843" y="228451"/>
                  <a:pt x="61615" y="224433"/>
                </a:cubicBezTo>
                <a:cubicBezTo>
                  <a:pt x="68387" y="220414"/>
                  <a:pt x="75307" y="214499"/>
                  <a:pt x="78581" y="205680"/>
                </a:cubicBezTo>
                <a:cubicBezTo>
                  <a:pt x="78879" y="204899"/>
                  <a:pt x="79065" y="204118"/>
                  <a:pt x="79177" y="203299"/>
                </a:cubicBezTo>
                <a:cubicBezTo>
                  <a:pt x="79995" y="194332"/>
                  <a:pt x="79772" y="188044"/>
                  <a:pt x="79772" y="180677"/>
                </a:cubicBezTo>
                <a:cubicBezTo>
                  <a:pt x="79809" y="177478"/>
                  <a:pt x="78246" y="174464"/>
                  <a:pt x="75605" y="172641"/>
                </a:cubicBezTo>
                <a:cubicBezTo>
                  <a:pt x="75642" y="172678"/>
                  <a:pt x="75344" y="172641"/>
                  <a:pt x="75307" y="172641"/>
                </a:cubicBezTo>
                <a:cubicBezTo>
                  <a:pt x="75121" y="172455"/>
                  <a:pt x="75009" y="172194"/>
                  <a:pt x="74712" y="171748"/>
                </a:cubicBezTo>
                <a:cubicBezTo>
                  <a:pt x="73968" y="170706"/>
                  <a:pt x="73000" y="168957"/>
                  <a:pt x="72033" y="166985"/>
                </a:cubicBezTo>
                <a:cubicBezTo>
                  <a:pt x="70135" y="163078"/>
                  <a:pt x="68275" y="158242"/>
                  <a:pt x="67866" y="154484"/>
                </a:cubicBezTo>
                <a:cubicBezTo>
                  <a:pt x="67531" y="150540"/>
                  <a:pt x="64815" y="147228"/>
                  <a:pt x="61020" y="146149"/>
                </a:cubicBezTo>
                <a:cubicBezTo>
                  <a:pt x="60685" y="145703"/>
                  <a:pt x="59457" y="143954"/>
                  <a:pt x="58936" y="139601"/>
                </a:cubicBezTo>
                <a:cubicBezTo>
                  <a:pt x="58787" y="138224"/>
                  <a:pt x="59085" y="137703"/>
                  <a:pt x="59234" y="137517"/>
                </a:cubicBezTo>
                <a:cubicBezTo>
                  <a:pt x="62396" y="135062"/>
                  <a:pt x="63698" y="130932"/>
                  <a:pt x="62508" y="127099"/>
                </a:cubicBezTo>
                <a:cubicBezTo>
                  <a:pt x="60387" y="120737"/>
                  <a:pt x="56852" y="106338"/>
                  <a:pt x="57745" y="94952"/>
                </a:cubicBezTo>
                <a:cubicBezTo>
                  <a:pt x="58192" y="89260"/>
                  <a:pt x="59643" y="84683"/>
                  <a:pt x="61913" y="81558"/>
                </a:cubicBezTo>
                <a:cubicBezTo>
                  <a:pt x="64182" y="78432"/>
                  <a:pt x="67010" y="76163"/>
                  <a:pt x="73223" y="75307"/>
                </a:cubicBezTo>
                <a:cubicBezTo>
                  <a:pt x="76237" y="74935"/>
                  <a:pt x="78879" y="73186"/>
                  <a:pt x="80367" y="70545"/>
                </a:cubicBezTo>
                <a:cubicBezTo>
                  <a:pt x="81000" y="69391"/>
                  <a:pt x="86134" y="66489"/>
                  <a:pt x="95548" y="66377"/>
                </a:cubicBezTo>
                <a:cubicBezTo>
                  <a:pt x="95659" y="66377"/>
                  <a:pt x="95734" y="66377"/>
                  <a:pt x="95845" y="66377"/>
                </a:cubicBezTo>
                <a:cubicBezTo>
                  <a:pt x="116123" y="66824"/>
                  <a:pt x="124197" y="73037"/>
                  <a:pt x="128588" y="83046"/>
                </a:cubicBezTo>
                <a:cubicBezTo>
                  <a:pt x="132978" y="93129"/>
                  <a:pt x="132420" y="109426"/>
                  <a:pt x="127695" y="127695"/>
                </a:cubicBezTo>
                <a:cubicBezTo>
                  <a:pt x="126764" y="131527"/>
                  <a:pt x="128290" y="135582"/>
                  <a:pt x="131564" y="137815"/>
                </a:cubicBezTo>
                <a:cubicBezTo>
                  <a:pt x="131713" y="138150"/>
                  <a:pt x="131676" y="138633"/>
                  <a:pt x="131564" y="139601"/>
                </a:cubicBezTo>
                <a:cubicBezTo>
                  <a:pt x="131043" y="143954"/>
                  <a:pt x="129815" y="145703"/>
                  <a:pt x="129480" y="146149"/>
                </a:cubicBezTo>
                <a:cubicBezTo>
                  <a:pt x="125685" y="147228"/>
                  <a:pt x="122969" y="150540"/>
                  <a:pt x="122634" y="154484"/>
                </a:cubicBezTo>
                <a:cubicBezTo>
                  <a:pt x="122225" y="158167"/>
                  <a:pt x="120439" y="163078"/>
                  <a:pt x="118467" y="166985"/>
                </a:cubicBezTo>
                <a:cubicBezTo>
                  <a:pt x="117500" y="168920"/>
                  <a:pt x="116570" y="170706"/>
                  <a:pt x="115788" y="171748"/>
                </a:cubicBezTo>
                <a:cubicBezTo>
                  <a:pt x="115007" y="172789"/>
                  <a:pt x="113816" y="173199"/>
                  <a:pt x="115491" y="172343"/>
                </a:cubicBezTo>
                <a:cubicBezTo>
                  <a:pt x="112402" y="173980"/>
                  <a:pt x="110468" y="177180"/>
                  <a:pt x="110430" y="180677"/>
                </a:cubicBezTo>
                <a:cubicBezTo>
                  <a:pt x="110430" y="188082"/>
                  <a:pt x="110207" y="194332"/>
                  <a:pt x="111026" y="203299"/>
                </a:cubicBezTo>
                <a:cubicBezTo>
                  <a:pt x="111137" y="204118"/>
                  <a:pt x="111323" y="204899"/>
                  <a:pt x="111621" y="205680"/>
                </a:cubicBezTo>
                <a:cubicBezTo>
                  <a:pt x="116495" y="218815"/>
                  <a:pt x="128848" y="224284"/>
                  <a:pt x="140196" y="228898"/>
                </a:cubicBezTo>
                <a:cubicBezTo>
                  <a:pt x="142875" y="230014"/>
                  <a:pt x="145926" y="229865"/>
                  <a:pt x="148456" y="228488"/>
                </a:cubicBezTo>
                <a:cubicBezTo>
                  <a:pt x="151023" y="227112"/>
                  <a:pt x="152809" y="224619"/>
                  <a:pt x="153293" y="221754"/>
                </a:cubicBezTo>
                <a:cubicBezTo>
                  <a:pt x="156790" y="201737"/>
                  <a:pt x="168213" y="194035"/>
                  <a:pt x="182463" y="186928"/>
                </a:cubicBezTo>
                <a:cubicBezTo>
                  <a:pt x="189570" y="183393"/>
                  <a:pt x="197421" y="180529"/>
                  <a:pt x="204490" y="176510"/>
                </a:cubicBezTo>
                <a:cubicBezTo>
                  <a:pt x="211559" y="172492"/>
                  <a:pt x="218480" y="166874"/>
                  <a:pt x="221754" y="158055"/>
                </a:cubicBezTo>
                <a:cubicBezTo>
                  <a:pt x="222052" y="157274"/>
                  <a:pt x="222238" y="156493"/>
                  <a:pt x="222349" y="155674"/>
                </a:cubicBezTo>
                <a:cubicBezTo>
                  <a:pt x="223168" y="146707"/>
                  <a:pt x="222945" y="140419"/>
                  <a:pt x="222945" y="133052"/>
                </a:cubicBezTo>
                <a:cubicBezTo>
                  <a:pt x="222982" y="129853"/>
                  <a:pt x="221419" y="126839"/>
                  <a:pt x="218777" y="125016"/>
                </a:cubicBezTo>
                <a:cubicBezTo>
                  <a:pt x="218815" y="125053"/>
                  <a:pt x="218480" y="125016"/>
                  <a:pt x="218480" y="125016"/>
                </a:cubicBezTo>
                <a:cubicBezTo>
                  <a:pt x="218256" y="124830"/>
                  <a:pt x="217922" y="124569"/>
                  <a:pt x="217587" y="124123"/>
                </a:cubicBezTo>
                <a:cubicBezTo>
                  <a:pt x="216805" y="123081"/>
                  <a:pt x="215875" y="121295"/>
                  <a:pt x="214908" y="119360"/>
                </a:cubicBezTo>
                <a:cubicBezTo>
                  <a:pt x="212936" y="115453"/>
                  <a:pt x="211150" y="110542"/>
                  <a:pt x="210741" y="106859"/>
                </a:cubicBezTo>
                <a:cubicBezTo>
                  <a:pt x="210406" y="102915"/>
                  <a:pt x="207690" y="99603"/>
                  <a:pt x="203895" y="98524"/>
                </a:cubicBezTo>
                <a:cubicBezTo>
                  <a:pt x="203560" y="98078"/>
                  <a:pt x="202332" y="96329"/>
                  <a:pt x="201811" y="91976"/>
                </a:cubicBezTo>
                <a:cubicBezTo>
                  <a:pt x="201662" y="90599"/>
                  <a:pt x="201960" y="90078"/>
                  <a:pt x="202109" y="89892"/>
                </a:cubicBezTo>
                <a:cubicBezTo>
                  <a:pt x="205160" y="87623"/>
                  <a:pt x="206536" y="83753"/>
                  <a:pt x="205680" y="80070"/>
                </a:cubicBezTo>
                <a:cubicBezTo>
                  <a:pt x="200918" y="61801"/>
                  <a:pt x="200397" y="45765"/>
                  <a:pt x="204788" y="35719"/>
                </a:cubicBezTo>
                <a:cubicBezTo>
                  <a:pt x="209178" y="25747"/>
                  <a:pt x="217215" y="19496"/>
                  <a:pt x="237530" y="19050"/>
                </a:cubicBezTo>
                <a:close/>
              </a:path>
            </a:pathLst>
          </a:custGeom>
          <a:solidFill>
            <a:srgbClr val="21479B"/>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1867"/>
          </a:p>
        </p:txBody>
      </p:sp>
    </p:spTree>
    <p:custDataLst>
      <p:tags r:id="rId1"/>
    </p:custDataLst>
    <p:extLst>
      <p:ext uri="{BB962C8B-B14F-4D97-AF65-F5344CB8AC3E}">
        <p14:creationId xmlns:p14="http://schemas.microsoft.com/office/powerpoint/2010/main" val="24161962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extLst>
              <p:ext uri="{D42A27DB-BD31-4B8C-83A1-F6EECF244321}">
                <p14:modId xmlns:p14="http://schemas.microsoft.com/office/powerpoint/2010/main" val="2347456990"/>
              </p:ext>
            </p:extLst>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0260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pic>
        <p:nvPicPr>
          <p:cNvPr id="10" name="Picture 9">
            <a:extLst>
              <a:ext uri="{FF2B5EF4-FFF2-40B4-BE49-F238E27FC236}">
                <a16:creationId xmlns:a16="http://schemas.microsoft.com/office/drawing/2014/main" id="{33728994-25DD-219B-9149-6F37F24912DF}"/>
              </a:ext>
            </a:extLst>
          </p:cNvPr>
          <p:cNvPicPr>
            <a:picLocks noChangeAspect="1"/>
          </p:cNvPicPr>
          <p:nvPr/>
        </p:nvPicPr>
        <p:blipFill>
          <a:blip r:embed="rId2"/>
          <a:stretch>
            <a:fillRect/>
          </a:stretch>
        </p:blipFill>
        <p:spPr>
          <a:xfrm>
            <a:off x="1972540" y="1837913"/>
            <a:ext cx="2657475" cy="4752975"/>
          </a:xfrm>
          <a:prstGeom prst="rect">
            <a:avLst/>
          </a:prstGeom>
        </p:spPr>
      </p:pic>
      <p:pic>
        <p:nvPicPr>
          <p:cNvPr id="12" name="Picture 11">
            <a:extLst>
              <a:ext uri="{FF2B5EF4-FFF2-40B4-BE49-F238E27FC236}">
                <a16:creationId xmlns:a16="http://schemas.microsoft.com/office/drawing/2014/main" id="{776C20A4-A1E5-F92B-7744-4CD8EB7BBE56}"/>
              </a:ext>
            </a:extLst>
          </p:cNvPr>
          <p:cNvPicPr>
            <a:picLocks noChangeAspect="1"/>
          </p:cNvPicPr>
          <p:nvPr/>
        </p:nvPicPr>
        <p:blipFill>
          <a:blip r:embed="rId3"/>
          <a:stretch>
            <a:fillRect/>
          </a:stretch>
        </p:blipFill>
        <p:spPr>
          <a:xfrm>
            <a:off x="6402244" y="1742162"/>
            <a:ext cx="3829050" cy="4610100"/>
          </a:xfrm>
          <a:prstGeom prst="rect">
            <a:avLst/>
          </a:prstGeom>
        </p:spPr>
      </p:pic>
      <p:cxnSp>
        <p:nvCxnSpPr>
          <p:cNvPr id="14" name="Straight Arrow Connector 13">
            <a:extLst>
              <a:ext uri="{FF2B5EF4-FFF2-40B4-BE49-F238E27FC236}">
                <a16:creationId xmlns:a16="http://schemas.microsoft.com/office/drawing/2014/main" id="{A653FB85-02F0-CDCC-E079-355B5724135C}"/>
              </a:ext>
            </a:extLst>
          </p:cNvPr>
          <p:cNvCxnSpPr>
            <a:cxnSpLocks/>
          </p:cNvCxnSpPr>
          <p:nvPr/>
        </p:nvCxnSpPr>
        <p:spPr>
          <a:xfrm>
            <a:off x="3980873" y="2179782"/>
            <a:ext cx="3011054" cy="1916982"/>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9AE21DD-9D21-EBD3-8360-43777B6B36A7}"/>
              </a:ext>
            </a:extLst>
          </p:cNvPr>
          <p:cNvCxnSpPr>
            <a:cxnSpLocks/>
          </p:cNvCxnSpPr>
          <p:nvPr/>
        </p:nvCxnSpPr>
        <p:spPr>
          <a:xfrm>
            <a:off x="4269076" y="3429000"/>
            <a:ext cx="2722851" cy="982617"/>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57D0507-7A21-39C9-50A1-1856336B6B62}"/>
              </a:ext>
            </a:extLst>
          </p:cNvPr>
          <p:cNvCxnSpPr>
            <a:cxnSpLocks/>
          </p:cNvCxnSpPr>
          <p:nvPr/>
        </p:nvCxnSpPr>
        <p:spPr>
          <a:xfrm>
            <a:off x="3574473" y="4775262"/>
            <a:ext cx="3417454" cy="849683"/>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CFE5081-7501-A8C7-611C-7BB017103C30}"/>
              </a:ext>
            </a:extLst>
          </p:cNvPr>
          <p:cNvCxnSpPr>
            <a:cxnSpLocks/>
          </p:cNvCxnSpPr>
          <p:nvPr/>
        </p:nvCxnSpPr>
        <p:spPr>
          <a:xfrm flipV="1">
            <a:off x="3646920" y="5384800"/>
            <a:ext cx="3345007" cy="480291"/>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689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B342FF6-E399-5DFE-2096-5EFE5D525D21}"/>
              </a:ext>
            </a:extLst>
          </p:cNvPr>
          <p:cNvPicPr>
            <a:picLocks noChangeAspect="1"/>
          </p:cNvPicPr>
          <p:nvPr/>
        </p:nvPicPr>
        <p:blipFill rotWithShape="1">
          <a:blip r:embed="rId2"/>
          <a:srcRect l="968"/>
          <a:stretch/>
        </p:blipFill>
        <p:spPr>
          <a:xfrm>
            <a:off x="0" y="2119812"/>
            <a:ext cx="7012557" cy="3824288"/>
          </a:xfrm>
          <a:prstGeom prst="rect">
            <a:avLst/>
          </a:prstGeom>
        </p:spPr>
      </p:pic>
      <p:pic>
        <p:nvPicPr>
          <p:cNvPr id="5" name="Picture 4">
            <a:extLst>
              <a:ext uri="{FF2B5EF4-FFF2-40B4-BE49-F238E27FC236}">
                <a16:creationId xmlns:a16="http://schemas.microsoft.com/office/drawing/2014/main" id="{F089FB50-4E29-FB83-880C-A836E1B2F918}"/>
              </a:ext>
            </a:extLst>
          </p:cNvPr>
          <p:cNvPicPr>
            <a:picLocks noChangeAspect="1"/>
          </p:cNvPicPr>
          <p:nvPr/>
        </p:nvPicPr>
        <p:blipFill rotWithShape="1">
          <a:blip r:embed="rId3"/>
          <a:srcRect l="12684" r="13519"/>
          <a:stretch/>
        </p:blipFill>
        <p:spPr>
          <a:xfrm>
            <a:off x="4703975" y="2329792"/>
            <a:ext cx="2432116" cy="3219450"/>
          </a:xfrm>
          <a:prstGeom prst="rect">
            <a:avLst/>
          </a:prstGeom>
        </p:spPr>
      </p:pic>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pic>
        <p:nvPicPr>
          <p:cNvPr id="12" name="Picture 11">
            <a:extLst>
              <a:ext uri="{FF2B5EF4-FFF2-40B4-BE49-F238E27FC236}">
                <a16:creationId xmlns:a16="http://schemas.microsoft.com/office/drawing/2014/main" id="{776C20A4-A1E5-F92B-7744-4CD8EB7BBE56}"/>
              </a:ext>
            </a:extLst>
          </p:cNvPr>
          <p:cNvPicPr>
            <a:picLocks noChangeAspect="1"/>
          </p:cNvPicPr>
          <p:nvPr/>
        </p:nvPicPr>
        <p:blipFill>
          <a:blip r:embed="rId4"/>
          <a:stretch>
            <a:fillRect/>
          </a:stretch>
        </p:blipFill>
        <p:spPr>
          <a:xfrm>
            <a:off x="8059014" y="1634467"/>
            <a:ext cx="3829050" cy="4610100"/>
          </a:xfrm>
          <a:prstGeom prst="rect">
            <a:avLst/>
          </a:prstGeom>
        </p:spPr>
      </p:pic>
      <p:cxnSp>
        <p:nvCxnSpPr>
          <p:cNvPr id="14" name="Straight Arrow Connector 13">
            <a:extLst>
              <a:ext uri="{FF2B5EF4-FFF2-40B4-BE49-F238E27FC236}">
                <a16:creationId xmlns:a16="http://schemas.microsoft.com/office/drawing/2014/main" id="{A653FB85-02F0-CDCC-E079-355B5724135C}"/>
              </a:ext>
            </a:extLst>
          </p:cNvPr>
          <p:cNvCxnSpPr>
            <a:cxnSpLocks/>
          </p:cNvCxnSpPr>
          <p:nvPr/>
        </p:nvCxnSpPr>
        <p:spPr>
          <a:xfrm>
            <a:off x="6677889" y="2644984"/>
            <a:ext cx="2004293" cy="1386972"/>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9AE21DD-9D21-EBD3-8360-43777B6B36A7}"/>
              </a:ext>
            </a:extLst>
          </p:cNvPr>
          <p:cNvCxnSpPr>
            <a:cxnSpLocks/>
          </p:cNvCxnSpPr>
          <p:nvPr/>
        </p:nvCxnSpPr>
        <p:spPr>
          <a:xfrm flipV="1">
            <a:off x="7038107" y="3321305"/>
            <a:ext cx="1644075" cy="1421302"/>
          </a:xfrm>
          <a:prstGeom prst="straightConnector1">
            <a:avLst/>
          </a:prstGeom>
          <a:ln w="38100">
            <a:solidFill>
              <a:srgbClr val="E360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893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6" name="Picture 5">
            <a:extLst>
              <a:ext uri="{FF2B5EF4-FFF2-40B4-BE49-F238E27FC236}">
                <a16:creationId xmlns:a16="http://schemas.microsoft.com/office/drawing/2014/main" id="{1A36E8CD-424A-4703-BCB3-DF5D2B23136F}"/>
              </a:ext>
            </a:extLst>
          </p:cNvPr>
          <p:cNvPicPr>
            <a:picLocks noChangeAspect="1"/>
          </p:cNvPicPr>
          <p:nvPr/>
        </p:nvPicPr>
        <p:blipFill rotWithShape="1">
          <a:blip r:embed="rId2"/>
          <a:srcRect l="17436" r="18746"/>
          <a:stretch/>
        </p:blipFill>
        <p:spPr>
          <a:xfrm>
            <a:off x="3162455" y="1065841"/>
            <a:ext cx="4216535" cy="5533496"/>
          </a:xfrm>
          <a:prstGeom prst="rect">
            <a:avLst/>
          </a:prstGeom>
        </p:spPr>
      </p:pic>
      <p:pic>
        <p:nvPicPr>
          <p:cNvPr id="8" name="Picture 7">
            <a:extLst>
              <a:ext uri="{FF2B5EF4-FFF2-40B4-BE49-F238E27FC236}">
                <a16:creationId xmlns:a16="http://schemas.microsoft.com/office/drawing/2014/main" id="{784D1A1D-B573-A4DD-D1E9-90F9B0DE0261}"/>
              </a:ext>
            </a:extLst>
          </p:cNvPr>
          <p:cNvPicPr>
            <a:picLocks noChangeAspect="1"/>
          </p:cNvPicPr>
          <p:nvPr/>
        </p:nvPicPr>
        <p:blipFill rotWithShape="1">
          <a:blip r:embed="rId3"/>
          <a:srcRect l="15423" r="13386"/>
          <a:stretch/>
        </p:blipFill>
        <p:spPr>
          <a:xfrm>
            <a:off x="7378990" y="1209784"/>
            <a:ext cx="4279769" cy="5034783"/>
          </a:xfrm>
          <a:prstGeom prst="rect">
            <a:avLst/>
          </a:prstGeom>
        </p:spPr>
      </p:pic>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pic>
        <p:nvPicPr>
          <p:cNvPr id="10" name="Picture 9">
            <a:extLst>
              <a:ext uri="{FF2B5EF4-FFF2-40B4-BE49-F238E27FC236}">
                <a16:creationId xmlns:a16="http://schemas.microsoft.com/office/drawing/2014/main" id="{9874B188-60DA-17DA-5058-7004F4CABD0C}"/>
              </a:ext>
            </a:extLst>
          </p:cNvPr>
          <p:cNvPicPr>
            <a:picLocks noChangeAspect="1"/>
          </p:cNvPicPr>
          <p:nvPr/>
        </p:nvPicPr>
        <p:blipFill>
          <a:blip r:embed="rId4"/>
          <a:stretch>
            <a:fillRect/>
          </a:stretch>
        </p:blipFill>
        <p:spPr>
          <a:xfrm>
            <a:off x="309464" y="1783532"/>
            <a:ext cx="2705493" cy="4589916"/>
          </a:xfrm>
          <a:prstGeom prst="rect">
            <a:avLst/>
          </a:prstGeom>
        </p:spPr>
      </p:pic>
    </p:spTree>
    <p:extLst>
      <p:ext uri="{BB962C8B-B14F-4D97-AF65-F5344CB8AC3E}">
        <p14:creationId xmlns:p14="http://schemas.microsoft.com/office/powerpoint/2010/main" val="1319122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602B82-5842-4C09-9CE0-FE65AF0814C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602B82-5842-4C09-9CE0-FE65AF0814C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57649-04B0-4766-9290-E5B6D0EB61FD}"/>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a:t>Agenda</a:t>
            </a:r>
          </a:p>
        </p:txBody>
      </p:sp>
      <p:sp>
        <p:nvSpPr>
          <p:cNvPr id="8" name="Pentagon 23">
            <a:extLst>
              <a:ext uri="{FF2B5EF4-FFF2-40B4-BE49-F238E27FC236}">
                <a16:creationId xmlns:a16="http://schemas.microsoft.com/office/drawing/2014/main" id="{598E6103-3DFF-4B87-B5C7-300316CB1814}"/>
              </a:ext>
            </a:extLst>
          </p:cNvPr>
          <p:cNvSpPr/>
          <p:nvPr/>
        </p:nvSpPr>
        <p:spPr>
          <a:xfrm>
            <a:off x="1145628" y="14003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chemeClr val="accent4"/>
                </a:solidFill>
                <a:cs typeface="Arial" panose="020B0604020202020204" pitchFamily="34" charset="0"/>
              </a:rPr>
              <a:t>Introduction</a:t>
            </a:r>
          </a:p>
        </p:txBody>
      </p:sp>
      <p:grpSp>
        <p:nvGrpSpPr>
          <p:cNvPr id="5" name="Group 4">
            <a:extLst>
              <a:ext uri="{FF2B5EF4-FFF2-40B4-BE49-F238E27FC236}">
                <a16:creationId xmlns:a16="http://schemas.microsoft.com/office/drawing/2014/main" id="{9BA362C0-A8D7-1A2A-77C8-9B17148C7465}"/>
              </a:ext>
            </a:extLst>
          </p:cNvPr>
          <p:cNvGrpSpPr/>
          <p:nvPr/>
        </p:nvGrpSpPr>
        <p:grpSpPr>
          <a:xfrm>
            <a:off x="839218" y="1404928"/>
            <a:ext cx="623570" cy="623570"/>
            <a:chOff x="386130" y="1696180"/>
            <a:chExt cx="813403" cy="813403"/>
          </a:xfrm>
        </p:grpSpPr>
        <p:sp>
          <p:nvSpPr>
            <p:cNvPr id="13" name="Oval 12">
              <a:extLst>
                <a:ext uri="{FF2B5EF4-FFF2-40B4-BE49-F238E27FC236}">
                  <a16:creationId xmlns:a16="http://schemas.microsoft.com/office/drawing/2014/main" id="{9D57BE4A-5B6A-4752-A75D-1142E779029A}"/>
                </a:ext>
              </a:extLst>
            </p:cNvPr>
            <p:cNvSpPr/>
            <p:nvPr/>
          </p:nvSpPr>
          <p:spPr>
            <a:xfrm>
              <a:off x="386130" y="1696180"/>
              <a:ext cx="813403" cy="813403"/>
            </a:xfrm>
            <a:prstGeom prst="ellipse">
              <a:avLst/>
            </a:prstGeom>
            <a:solidFill>
              <a:schemeClr val="accent4"/>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4" name="Graphic 22">
              <a:extLst>
                <a:ext uri="{FF2B5EF4-FFF2-40B4-BE49-F238E27FC236}">
                  <a16:creationId xmlns:a16="http://schemas.microsoft.com/office/drawing/2014/main" id="{2454E598-343F-41EB-AE9A-F24DF23669D2}"/>
                </a:ext>
              </a:extLst>
            </p:cNvPr>
            <p:cNvSpPr/>
            <p:nvPr/>
          </p:nvSpPr>
          <p:spPr>
            <a:xfrm>
              <a:off x="583751" y="1893814"/>
              <a:ext cx="418161" cy="418135"/>
            </a:xfrm>
            <a:custGeom>
              <a:avLst/>
              <a:gdLst>
                <a:gd name="connsiteX0" fmla="*/ 95278 w 438177"/>
                <a:gd name="connsiteY0" fmla="*/ 0 h 438150"/>
                <a:gd name="connsiteX1" fmla="*/ 47653 w 438177"/>
                <a:gd name="connsiteY1" fmla="*/ 47625 h 438150"/>
                <a:gd name="connsiteX2" fmla="*/ 95278 w 438177"/>
                <a:gd name="connsiteY2" fmla="*/ 95250 h 438150"/>
                <a:gd name="connsiteX3" fmla="*/ 142903 w 438177"/>
                <a:gd name="connsiteY3" fmla="*/ 47625 h 438150"/>
                <a:gd name="connsiteX4" fmla="*/ 95278 w 438177"/>
                <a:gd name="connsiteY4" fmla="*/ 0 h 438150"/>
                <a:gd name="connsiteX5" fmla="*/ 257203 w 438177"/>
                <a:gd name="connsiteY5" fmla="*/ 0 h 438150"/>
                <a:gd name="connsiteX6" fmla="*/ 257203 w 438177"/>
                <a:gd name="connsiteY6" fmla="*/ 19050 h 438150"/>
                <a:gd name="connsiteX7" fmla="*/ 161953 w 438177"/>
                <a:gd name="connsiteY7" fmla="*/ 19050 h 438150"/>
                <a:gd name="connsiteX8" fmla="*/ 161953 w 438177"/>
                <a:gd name="connsiteY8" fmla="*/ 38100 h 438150"/>
                <a:gd name="connsiteX9" fmla="*/ 419128 w 438177"/>
                <a:gd name="connsiteY9" fmla="*/ 38100 h 438150"/>
                <a:gd name="connsiteX10" fmla="*/ 419128 w 438177"/>
                <a:gd name="connsiteY10" fmla="*/ 285750 h 438150"/>
                <a:gd name="connsiteX11" fmla="*/ 171478 w 438177"/>
                <a:gd name="connsiteY11" fmla="*/ 285750 h 438150"/>
                <a:gd name="connsiteX12" fmla="*/ 171478 w 438177"/>
                <a:gd name="connsiteY12" fmla="*/ 304800 h 438150"/>
                <a:gd name="connsiteX13" fmla="*/ 252440 w 438177"/>
                <a:gd name="connsiteY13" fmla="*/ 304800 h 438150"/>
                <a:gd name="connsiteX14" fmla="*/ 200053 w 438177"/>
                <a:gd name="connsiteY14" fmla="*/ 409575 h 438150"/>
                <a:gd name="connsiteX15" fmla="*/ 219103 w 438177"/>
                <a:gd name="connsiteY15" fmla="*/ 409575 h 438150"/>
                <a:gd name="connsiteX16" fmla="*/ 266728 w 438177"/>
                <a:gd name="connsiteY16" fmla="*/ 314325 h 438150"/>
                <a:gd name="connsiteX17" fmla="*/ 314353 w 438177"/>
                <a:gd name="connsiteY17" fmla="*/ 409575 h 438150"/>
                <a:gd name="connsiteX18" fmla="*/ 333403 w 438177"/>
                <a:gd name="connsiteY18" fmla="*/ 409575 h 438150"/>
                <a:gd name="connsiteX19" fmla="*/ 281015 w 438177"/>
                <a:gd name="connsiteY19" fmla="*/ 304800 h 438150"/>
                <a:gd name="connsiteX20" fmla="*/ 428653 w 438177"/>
                <a:gd name="connsiteY20" fmla="*/ 304800 h 438150"/>
                <a:gd name="connsiteX21" fmla="*/ 438178 w 438177"/>
                <a:gd name="connsiteY21" fmla="*/ 295275 h 438150"/>
                <a:gd name="connsiteX22" fmla="*/ 438178 w 438177"/>
                <a:gd name="connsiteY22" fmla="*/ 28575 h 438150"/>
                <a:gd name="connsiteX23" fmla="*/ 428653 w 438177"/>
                <a:gd name="connsiteY23" fmla="*/ 19050 h 438150"/>
                <a:gd name="connsiteX24" fmla="*/ 276253 w 438177"/>
                <a:gd name="connsiteY24" fmla="*/ 19050 h 438150"/>
                <a:gd name="connsiteX25" fmla="*/ 276253 w 438177"/>
                <a:gd name="connsiteY25" fmla="*/ 0 h 438150"/>
                <a:gd name="connsiteX26" fmla="*/ 95278 w 438177"/>
                <a:gd name="connsiteY26" fmla="*/ 19050 h 438150"/>
                <a:gd name="connsiteX27" fmla="*/ 123853 w 438177"/>
                <a:gd name="connsiteY27" fmla="*/ 47625 h 438150"/>
                <a:gd name="connsiteX28" fmla="*/ 95278 w 438177"/>
                <a:gd name="connsiteY28" fmla="*/ 76200 h 438150"/>
                <a:gd name="connsiteX29" fmla="*/ 66703 w 438177"/>
                <a:gd name="connsiteY29" fmla="*/ 47625 h 438150"/>
                <a:gd name="connsiteX30" fmla="*/ 95278 w 438177"/>
                <a:gd name="connsiteY30" fmla="*/ 19050 h 438150"/>
                <a:gd name="connsiteX31" fmla="*/ 52415 w 438177"/>
                <a:gd name="connsiteY31" fmla="*/ 104775 h 438150"/>
                <a:gd name="connsiteX32" fmla="*/ 28 w 438177"/>
                <a:gd name="connsiteY32" fmla="*/ 157163 h 438150"/>
                <a:gd name="connsiteX33" fmla="*/ 28 w 438177"/>
                <a:gd name="connsiteY33" fmla="*/ 274439 h 438150"/>
                <a:gd name="connsiteX34" fmla="*/ 28 w 438177"/>
                <a:gd name="connsiteY34" fmla="*/ 275630 h 438150"/>
                <a:gd name="connsiteX35" fmla="*/ 28 w 438177"/>
                <a:gd name="connsiteY35" fmla="*/ 276225 h 438150"/>
                <a:gd name="connsiteX36" fmla="*/ 326 w 438177"/>
                <a:gd name="connsiteY36" fmla="*/ 278904 h 438150"/>
                <a:gd name="connsiteX37" fmla="*/ 28603 w 438177"/>
                <a:gd name="connsiteY37" fmla="*/ 304800 h 438150"/>
                <a:gd name="connsiteX38" fmla="*/ 38128 w 438177"/>
                <a:gd name="connsiteY38" fmla="*/ 303014 h 438150"/>
                <a:gd name="connsiteX39" fmla="*/ 38128 w 438177"/>
                <a:gd name="connsiteY39" fmla="*/ 404813 h 438150"/>
                <a:gd name="connsiteX40" fmla="*/ 71465 w 438177"/>
                <a:gd name="connsiteY40" fmla="*/ 438150 h 438150"/>
                <a:gd name="connsiteX41" fmla="*/ 95278 w 438177"/>
                <a:gd name="connsiteY41" fmla="*/ 428030 h 438150"/>
                <a:gd name="connsiteX42" fmla="*/ 119090 w 438177"/>
                <a:gd name="connsiteY42" fmla="*/ 438150 h 438150"/>
                <a:gd name="connsiteX43" fmla="*/ 152428 w 438177"/>
                <a:gd name="connsiteY43" fmla="*/ 404813 h 438150"/>
                <a:gd name="connsiteX44" fmla="*/ 152428 w 438177"/>
                <a:gd name="connsiteY44" fmla="*/ 161925 h 438150"/>
                <a:gd name="connsiteX45" fmla="*/ 257203 w 438177"/>
                <a:gd name="connsiteY45" fmla="*/ 161925 h 438150"/>
                <a:gd name="connsiteX46" fmla="*/ 285778 w 438177"/>
                <a:gd name="connsiteY46" fmla="*/ 133350 h 438150"/>
                <a:gd name="connsiteX47" fmla="*/ 257798 w 438177"/>
                <a:gd name="connsiteY47" fmla="*/ 104775 h 438150"/>
                <a:gd name="connsiteX48" fmla="*/ 257203 w 438177"/>
                <a:gd name="connsiteY48" fmla="*/ 104775 h 438150"/>
                <a:gd name="connsiteX49" fmla="*/ 123853 w 438177"/>
                <a:gd name="connsiteY49" fmla="*/ 104775 h 438150"/>
                <a:gd name="connsiteX50" fmla="*/ 115221 w 438177"/>
                <a:gd name="connsiteY50" fmla="*/ 110133 h 438150"/>
                <a:gd name="connsiteX51" fmla="*/ 95278 w 438177"/>
                <a:gd name="connsiteY51" fmla="*/ 150019 h 438150"/>
                <a:gd name="connsiteX52" fmla="*/ 75335 w 438177"/>
                <a:gd name="connsiteY52" fmla="*/ 110133 h 438150"/>
                <a:gd name="connsiteX53" fmla="*/ 66703 w 438177"/>
                <a:gd name="connsiteY53" fmla="*/ 104775 h 438150"/>
                <a:gd name="connsiteX54" fmla="*/ 52415 w 438177"/>
                <a:gd name="connsiteY54" fmla="*/ 123825 h 438150"/>
                <a:gd name="connsiteX55" fmla="*/ 60750 w 438177"/>
                <a:gd name="connsiteY55" fmla="*/ 123825 h 438150"/>
                <a:gd name="connsiteX56" fmla="*/ 86646 w 438177"/>
                <a:gd name="connsiteY56" fmla="*/ 175617 h 438150"/>
                <a:gd name="connsiteX57" fmla="*/ 95278 w 438177"/>
                <a:gd name="connsiteY57" fmla="*/ 181124 h 438150"/>
                <a:gd name="connsiteX58" fmla="*/ 103910 w 438177"/>
                <a:gd name="connsiteY58" fmla="*/ 175617 h 438150"/>
                <a:gd name="connsiteX59" fmla="*/ 129806 w 438177"/>
                <a:gd name="connsiteY59" fmla="*/ 123825 h 438150"/>
                <a:gd name="connsiteX60" fmla="*/ 257203 w 438177"/>
                <a:gd name="connsiteY60" fmla="*/ 123825 h 438150"/>
                <a:gd name="connsiteX61" fmla="*/ 258096 w 438177"/>
                <a:gd name="connsiteY61" fmla="*/ 123825 h 438150"/>
                <a:gd name="connsiteX62" fmla="*/ 266728 w 438177"/>
                <a:gd name="connsiteY62" fmla="*/ 133350 h 438150"/>
                <a:gd name="connsiteX63" fmla="*/ 257203 w 438177"/>
                <a:gd name="connsiteY63" fmla="*/ 142875 h 438150"/>
                <a:gd name="connsiteX64" fmla="*/ 142903 w 438177"/>
                <a:gd name="connsiteY64" fmla="*/ 142875 h 438150"/>
                <a:gd name="connsiteX65" fmla="*/ 133378 w 438177"/>
                <a:gd name="connsiteY65" fmla="*/ 152400 h 438150"/>
                <a:gd name="connsiteX66" fmla="*/ 133378 w 438177"/>
                <a:gd name="connsiteY66" fmla="*/ 404813 h 438150"/>
                <a:gd name="connsiteX67" fmla="*/ 119090 w 438177"/>
                <a:gd name="connsiteY67" fmla="*/ 419100 h 438150"/>
                <a:gd name="connsiteX68" fmla="*/ 104803 w 438177"/>
                <a:gd name="connsiteY68" fmla="*/ 406301 h 438150"/>
                <a:gd name="connsiteX69" fmla="*/ 104803 w 438177"/>
                <a:gd name="connsiteY69" fmla="*/ 403920 h 438150"/>
                <a:gd name="connsiteX70" fmla="*/ 104803 w 438177"/>
                <a:gd name="connsiteY70" fmla="*/ 403027 h 438150"/>
                <a:gd name="connsiteX71" fmla="*/ 104803 w 438177"/>
                <a:gd name="connsiteY71" fmla="*/ 304800 h 438150"/>
                <a:gd name="connsiteX72" fmla="*/ 101826 w 438177"/>
                <a:gd name="connsiteY72" fmla="*/ 297545 h 438150"/>
                <a:gd name="connsiteX73" fmla="*/ 94385 w 438177"/>
                <a:gd name="connsiteY73" fmla="*/ 294977 h 438150"/>
                <a:gd name="connsiteX74" fmla="*/ 93194 w 438177"/>
                <a:gd name="connsiteY74" fmla="*/ 295275 h 438150"/>
                <a:gd name="connsiteX75" fmla="*/ 85753 w 438177"/>
                <a:gd name="connsiteY75" fmla="*/ 304800 h 438150"/>
                <a:gd name="connsiteX76" fmla="*/ 85753 w 438177"/>
                <a:gd name="connsiteY76" fmla="*/ 403027 h 438150"/>
                <a:gd name="connsiteX77" fmla="*/ 85753 w 438177"/>
                <a:gd name="connsiteY77" fmla="*/ 404217 h 438150"/>
                <a:gd name="connsiteX78" fmla="*/ 85753 w 438177"/>
                <a:gd name="connsiteY78" fmla="*/ 406301 h 438150"/>
                <a:gd name="connsiteX79" fmla="*/ 71465 w 438177"/>
                <a:gd name="connsiteY79" fmla="*/ 419100 h 438150"/>
                <a:gd name="connsiteX80" fmla="*/ 57178 w 438177"/>
                <a:gd name="connsiteY80" fmla="*/ 404813 h 438150"/>
                <a:gd name="connsiteX81" fmla="*/ 57178 w 438177"/>
                <a:gd name="connsiteY81" fmla="*/ 180975 h 438150"/>
                <a:gd name="connsiteX82" fmla="*/ 53680 w 438177"/>
                <a:gd name="connsiteY82" fmla="*/ 173385 h 438150"/>
                <a:gd name="connsiteX83" fmla="*/ 45569 w 438177"/>
                <a:gd name="connsiteY83" fmla="*/ 171450 h 438150"/>
                <a:gd name="connsiteX84" fmla="*/ 38128 w 438177"/>
                <a:gd name="connsiteY84" fmla="*/ 180975 h 438150"/>
                <a:gd name="connsiteX85" fmla="*/ 38128 w 438177"/>
                <a:gd name="connsiteY85" fmla="*/ 274737 h 438150"/>
                <a:gd name="connsiteX86" fmla="*/ 38128 w 438177"/>
                <a:gd name="connsiteY86" fmla="*/ 275630 h 438150"/>
                <a:gd name="connsiteX87" fmla="*/ 38128 w 438177"/>
                <a:gd name="connsiteY87" fmla="*/ 276225 h 438150"/>
                <a:gd name="connsiteX88" fmla="*/ 28603 w 438177"/>
                <a:gd name="connsiteY88" fmla="*/ 285750 h 438150"/>
                <a:gd name="connsiteX89" fmla="*/ 19078 w 438177"/>
                <a:gd name="connsiteY89" fmla="*/ 276820 h 438150"/>
                <a:gd name="connsiteX90" fmla="*/ 19078 w 438177"/>
                <a:gd name="connsiteY90" fmla="*/ 276225 h 438150"/>
                <a:gd name="connsiteX91" fmla="*/ 19078 w 438177"/>
                <a:gd name="connsiteY91" fmla="*/ 274439 h 438150"/>
                <a:gd name="connsiteX92" fmla="*/ 19078 w 438177"/>
                <a:gd name="connsiteY92" fmla="*/ 157163 h 438150"/>
                <a:gd name="connsiteX93" fmla="*/ 52415 w 438177"/>
                <a:gd name="connsiteY93" fmla="*/ 1238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8177" h="438150">
                  <a:moveTo>
                    <a:pt x="95278" y="0"/>
                  </a:moveTo>
                  <a:cubicBezTo>
                    <a:pt x="69084" y="0"/>
                    <a:pt x="47653" y="21431"/>
                    <a:pt x="47653" y="47625"/>
                  </a:cubicBezTo>
                  <a:cubicBezTo>
                    <a:pt x="47653" y="73819"/>
                    <a:pt x="69084" y="95250"/>
                    <a:pt x="95278" y="95250"/>
                  </a:cubicBezTo>
                  <a:cubicBezTo>
                    <a:pt x="121472" y="95250"/>
                    <a:pt x="142903" y="73819"/>
                    <a:pt x="142903" y="47625"/>
                  </a:cubicBezTo>
                  <a:cubicBezTo>
                    <a:pt x="142903" y="21431"/>
                    <a:pt x="121472" y="0"/>
                    <a:pt x="95278" y="0"/>
                  </a:cubicBezTo>
                  <a:close/>
                  <a:moveTo>
                    <a:pt x="257203" y="0"/>
                  </a:moveTo>
                  <a:lnTo>
                    <a:pt x="257203" y="19050"/>
                  </a:lnTo>
                  <a:lnTo>
                    <a:pt x="161953" y="19050"/>
                  </a:lnTo>
                  <a:lnTo>
                    <a:pt x="161953" y="38100"/>
                  </a:lnTo>
                  <a:lnTo>
                    <a:pt x="419128" y="38100"/>
                  </a:lnTo>
                  <a:lnTo>
                    <a:pt x="419128" y="285750"/>
                  </a:lnTo>
                  <a:lnTo>
                    <a:pt x="171478" y="285750"/>
                  </a:lnTo>
                  <a:lnTo>
                    <a:pt x="171478" y="304800"/>
                  </a:lnTo>
                  <a:lnTo>
                    <a:pt x="252440" y="304800"/>
                  </a:lnTo>
                  <a:lnTo>
                    <a:pt x="200053" y="409575"/>
                  </a:lnTo>
                  <a:lnTo>
                    <a:pt x="219103" y="409575"/>
                  </a:lnTo>
                  <a:lnTo>
                    <a:pt x="266728" y="314325"/>
                  </a:lnTo>
                  <a:lnTo>
                    <a:pt x="314353" y="409575"/>
                  </a:lnTo>
                  <a:lnTo>
                    <a:pt x="333403" y="409575"/>
                  </a:lnTo>
                  <a:lnTo>
                    <a:pt x="281015" y="304800"/>
                  </a:lnTo>
                  <a:lnTo>
                    <a:pt x="428653" y="304800"/>
                  </a:lnTo>
                  <a:cubicBezTo>
                    <a:pt x="433899" y="304800"/>
                    <a:pt x="438178" y="300521"/>
                    <a:pt x="438178" y="295275"/>
                  </a:cubicBezTo>
                  <a:lnTo>
                    <a:pt x="438178" y="28575"/>
                  </a:lnTo>
                  <a:cubicBezTo>
                    <a:pt x="438178" y="23329"/>
                    <a:pt x="433899" y="19050"/>
                    <a:pt x="428653" y="19050"/>
                  </a:cubicBezTo>
                  <a:lnTo>
                    <a:pt x="276253" y="19050"/>
                  </a:lnTo>
                  <a:lnTo>
                    <a:pt x="276253" y="0"/>
                  </a:lnTo>
                  <a:close/>
                  <a:moveTo>
                    <a:pt x="95278" y="19050"/>
                  </a:moveTo>
                  <a:cubicBezTo>
                    <a:pt x="111165" y="19050"/>
                    <a:pt x="123853" y="31738"/>
                    <a:pt x="123853" y="47625"/>
                  </a:cubicBezTo>
                  <a:cubicBezTo>
                    <a:pt x="123853" y="63512"/>
                    <a:pt x="111165" y="76200"/>
                    <a:pt x="95278" y="76200"/>
                  </a:cubicBezTo>
                  <a:cubicBezTo>
                    <a:pt x="79391" y="76200"/>
                    <a:pt x="66703" y="63512"/>
                    <a:pt x="66703" y="47625"/>
                  </a:cubicBezTo>
                  <a:cubicBezTo>
                    <a:pt x="66703" y="31738"/>
                    <a:pt x="79391" y="19050"/>
                    <a:pt x="95278" y="19050"/>
                  </a:cubicBezTo>
                  <a:close/>
                  <a:moveTo>
                    <a:pt x="52415" y="104775"/>
                  </a:moveTo>
                  <a:cubicBezTo>
                    <a:pt x="23580" y="104775"/>
                    <a:pt x="28" y="128327"/>
                    <a:pt x="28" y="157163"/>
                  </a:cubicBezTo>
                  <a:lnTo>
                    <a:pt x="28" y="274439"/>
                  </a:lnTo>
                  <a:cubicBezTo>
                    <a:pt x="-9" y="274848"/>
                    <a:pt x="-9" y="275220"/>
                    <a:pt x="28" y="275630"/>
                  </a:cubicBezTo>
                  <a:lnTo>
                    <a:pt x="28" y="276225"/>
                  </a:lnTo>
                  <a:cubicBezTo>
                    <a:pt x="-9" y="277118"/>
                    <a:pt x="102" y="278048"/>
                    <a:pt x="326" y="278904"/>
                  </a:cubicBezTo>
                  <a:cubicBezTo>
                    <a:pt x="1739" y="293303"/>
                    <a:pt x="13869" y="304800"/>
                    <a:pt x="28603" y="304800"/>
                  </a:cubicBezTo>
                  <a:cubicBezTo>
                    <a:pt x="31952" y="304800"/>
                    <a:pt x="35114" y="304093"/>
                    <a:pt x="38128" y="303014"/>
                  </a:cubicBezTo>
                  <a:lnTo>
                    <a:pt x="38128" y="404813"/>
                  </a:lnTo>
                  <a:cubicBezTo>
                    <a:pt x="38128" y="423118"/>
                    <a:pt x="53160" y="438150"/>
                    <a:pt x="71465" y="438150"/>
                  </a:cubicBezTo>
                  <a:cubicBezTo>
                    <a:pt x="80767" y="438150"/>
                    <a:pt x="89213" y="434243"/>
                    <a:pt x="95278" y="428030"/>
                  </a:cubicBezTo>
                  <a:cubicBezTo>
                    <a:pt x="101343" y="434243"/>
                    <a:pt x="109789" y="438150"/>
                    <a:pt x="119090" y="438150"/>
                  </a:cubicBezTo>
                  <a:cubicBezTo>
                    <a:pt x="137396" y="438150"/>
                    <a:pt x="152428" y="423118"/>
                    <a:pt x="152428" y="404813"/>
                  </a:cubicBezTo>
                  <a:lnTo>
                    <a:pt x="152428" y="161925"/>
                  </a:lnTo>
                  <a:lnTo>
                    <a:pt x="257203" y="161925"/>
                  </a:lnTo>
                  <a:cubicBezTo>
                    <a:pt x="272867" y="161925"/>
                    <a:pt x="285778" y="149014"/>
                    <a:pt x="285778" y="133350"/>
                  </a:cubicBezTo>
                  <a:cubicBezTo>
                    <a:pt x="285778" y="117872"/>
                    <a:pt x="273202" y="105110"/>
                    <a:pt x="257798" y="104775"/>
                  </a:cubicBezTo>
                  <a:cubicBezTo>
                    <a:pt x="257612" y="104775"/>
                    <a:pt x="257389" y="104775"/>
                    <a:pt x="257203" y="104775"/>
                  </a:cubicBezTo>
                  <a:lnTo>
                    <a:pt x="123853" y="104775"/>
                  </a:lnTo>
                  <a:cubicBezTo>
                    <a:pt x="120169" y="104738"/>
                    <a:pt x="116821" y="106821"/>
                    <a:pt x="115221" y="110133"/>
                  </a:cubicBezTo>
                  <a:lnTo>
                    <a:pt x="95278" y="150019"/>
                  </a:lnTo>
                  <a:lnTo>
                    <a:pt x="75335" y="110133"/>
                  </a:lnTo>
                  <a:cubicBezTo>
                    <a:pt x="73735" y="106821"/>
                    <a:pt x="70386" y="104738"/>
                    <a:pt x="66703" y="104775"/>
                  </a:cubicBezTo>
                  <a:close/>
                  <a:moveTo>
                    <a:pt x="52415" y="123825"/>
                  </a:moveTo>
                  <a:lnTo>
                    <a:pt x="60750" y="123825"/>
                  </a:lnTo>
                  <a:lnTo>
                    <a:pt x="86646" y="175617"/>
                  </a:lnTo>
                  <a:cubicBezTo>
                    <a:pt x="88209" y="178966"/>
                    <a:pt x="91594" y="181124"/>
                    <a:pt x="95278" y="181124"/>
                  </a:cubicBezTo>
                  <a:cubicBezTo>
                    <a:pt x="98961" y="181124"/>
                    <a:pt x="102347" y="178966"/>
                    <a:pt x="103910" y="175617"/>
                  </a:cubicBezTo>
                  <a:lnTo>
                    <a:pt x="129806" y="123825"/>
                  </a:lnTo>
                  <a:lnTo>
                    <a:pt x="257203" y="123825"/>
                  </a:lnTo>
                  <a:cubicBezTo>
                    <a:pt x="257501" y="123825"/>
                    <a:pt x="257798" y="123825"/>
                    <a:pt x="258096" y="123825"/>
                  </a:cubicBezTo>
                  <a:cubicBezTo>
                    <a:pt x="263044" y="124271"/>
                    <a:pt x="266728" y="128290"/>
                    <a:pt x="266728" y="133350"/>
                  </a:cubicBezTo>
                  <a:cubicBezTo>
                    <a:pt x="266728" y="138745"/>
                    <a:pt x="262598" y="142875"/>
                    <a:pt x="257203" y="142875"/>
                  </a:cubicBezTo>
                  <a:lnTo>
                    <a:pt x="142903" y="142875"/>
                  </a:lnTo>
                  <a:cubicBezTo>
                    <a:pt x="137657" y="142875"/>
                    <a:pt x="133378" y="147154"/>
                    <a:pt x="133378" y="152400"/>
                  </a:cubicBezTo>
                  <a:lnTo>
                    <a:pt x="133378" y="404813"/>
                  </a:lnTo>
                  <a:cubicBezTo>
                    <a:pt x="133378" y="412812"/>
                    <a:pt x="127090" y="419100"/>
                    <a:pt x="119090" y="419100"/>
                  </a:cubicBezTo>
                  <a:cubicBezTo>
                    <a:pt x="111575" y="419100"/>
                    <a:pt x="105510" y="413593"/>
                    <a:pt x="104803" y="406301"/>
                  </a:cubicBezTo>
                  <a:lnTo>
                    <a:pt x="104803" y="403920"/>
                  </a:lnTo>
                  <a:cubicBezTo>
                    <a:pt x="104803" y="403622"/>
                    <a:pt x="104803" y="403324"/>
                    <a:pt x="104803" y="403027"/>
                  </a:cubicBezTo>
                  <a:lnTo>
                    <a:pt x="104803" y="304800"/>
                  </a:lnTo>
                  <a:cubicBezTo>
                    <a:pt x="104915" y="302047"/>
                    <a:pt x="103798" y="299405"/>
                    <a:pt x="101826" y="297545"/>
                  </a:cubicBezTo>
                  <a:cubicBezTo>
                    <a:pt x="99817" y="295647"/>
                    <a:pt x="97101" y="294717"/>
                    <a:pt x="94385" y="294977"/>
                  </a:cubicBezTo>
                  <a:cubicBezTo>
                    <a:pt x="93976" y="295052"/>
                    <a:pt x="93566" y="295163"/>
                    <a:pt x="93194" y="295275"/>
                  </a:cubicBezTo>
                  <a:cubicBezTo>
                    <a:pt x="88767" y="296280"/>
                    <a:pt x="85641" y="300261"/>
                    <a:pt x="85753" y="304800"/>
                  </a:cubicBezTo>
                  <a:lnTo>
                    <a:pt x="85753" y="403027"/>
                  </a:lnTo>
                  <a:cubicBezTo>
                    <a:pt x="85716" y="403436"/>
                    <a:pt x="85716" y="403808"/>
                    <a:pt x="85753" y="404217"/>
                  </a:cubicBezTo>
                  <a:lnTo>
                    <a:pt x="85753" y="406301"/>
                  </a:lnTo>
                  <a:cubicBezTo>
                    <a:pt x="85046" y="413593"/>
                    <a:pt x="78981" y="419100"/>
                    <a:pt x="71465" y="419100"/>
                  </a:cubicBezTo>
                  <a:cubicBezTo>
                    <a:pt x="63466" y="419100"/>
                    <a:pt x="57178" y="412812"/>
                    <a:pt x="57178" y="404813"/>
                  </a:cubicBezTo>
                  <a:lnTo>
                    <a:pt x="57178" y="180975"/>
                  </a:lnTo>
                  <a:cubicBezTo>
                    <a:pt x="57252" y="178036"/>
                    <a:pt x="55950" y="175245"/>
                    <a:pt x="53680" y="173385"/>
                  </a:cubicBezTo>
                  <a:cubicBezTo>
                    <a:pt x="51448" y="171524"/>
                    <a:pt x="48434" y="170817"/>
                    <a:pt x="45569" y="171450"/>
                  </a:cubicBezTo>
                  <a:cubicBezTo>
                    <a:pt x="41142" y="172455"/>
                    <a:pt x="38016" y="176436"/>
                    <a:pt x="38128" y="180975"/>
                  </a:cubicBezTo>
                  <a:lnTo>
                    <a:pt x="38128" y="274737"/>
                  </a:lnTo>
                  <a:cubicBezTo>
                    <a:pt x="38128" y="275034"/>
                    <a:pt x="38128" y="275332"/>
                    <a:pt x="38128" y="275630"/>
                  </a:cubicBezTo>
                  <a:lnTo>
                    <a:pt x="38128" y="276225"/>
                  </a:lnTo>
                  <a:cubicBezTo>
                    <a:pt x="38128" y="281620"/>
                    <a:pt x="33998" y="285750"/>
                    <a:pt x="28603" y="285750"/>
                  </a:cubicBezTo>
                  <a:cubicBezTo>
                    <a:pt x="23431" y="285750"/>
                    <a:pt x="19376" y="281918"/>
                    <a:pt x="19078" y="276820"/>
                  </a:cubicBezTo>
                  <a:cubicBezTo>
                    <a:pt x="19078" y="276634"/>
                    <a:pt x="19078" y="276411"/>
                    <a:pt x="19078" y="276225"/>
                  </a:cubicBezTo>
                  <a:cubicBezTo>
                    <a:pt x="19152" y="275630"/>
                    <a:pt x="19152" y="275034"/>
                    <a:pt x="19078" y="274439"/>
                  </a:cubicBezTo>
                  <a:lnTo>
                    <a:pt x="19078" y="157163"/>
                  </a:lnTo>
                  <a:cubicBezTo>
                    <a:pt x="19078" y="138633"/>
                    <a:pt x="33886" y="123825"/>
                    <a:pt x="52415" y="123825"/>
                  </a:cubicBezTo>
                  <a:close/>
                </a:path>
              </a:pathLst>
            </a:custGeom>
            <a:solidFill>
              <a:schemeClr val="bg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133"/>
            </a:p>
          </p:txBody>
        </p:sp>
      </p:grpSp>
      <p:sp>
        <p:nvSpPr>
          <p:cNvPr id="55" name="Pentagon 23">
            <a:extLst>
              <a:ext uri="{FF2B5EF4-FFF2-40B4-BE49-F238E27FC236}">
                <a16:creationId xmlns:a16="http://schemas.microsoft.com/office/drawing/2014/main" id="{6F4F90CC-D6D0-478E-A1B4-7C73E42248DB}"/>
              </a:ext>
            </a:extLst>
          </p:cNvPr>
          <p:cNvSpPr/>
          <p:nvPr/>
        </p:nvSpPr>
        <p:spPr>
          <a:xfrm>
            <a:off x="1145628" y="218858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OOP recap</a:t>
            </a:r>
          </a:p>
        </p:txBody>
      </p:sp>
      <p:sp>
        <p:nvSpPr>
          <p:cNvPr id="57" name="Oval 56">
            <a:extLst>
              <a:ext uri="{FF2B5EF4-FFF2-40B4-BE49-F238E27FC236}">
                <a16:creationId xmlns:a16="http://schemas.microsoft.com/office/drawing/2014/main" id="{A4320068-0C27-C478-1818-659D6E54ABB3}"/>
              </a:ext>
            </a:extLst>
          </p:cNvPr>
          <p:cNvSpPr/>
          <p:nvPr/>
        </p:nvSpPr>
        <p:spPr>
          <a:xfrm>
            <a:off x="839218" y="219320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5" name="Pentagon 23">
            <a:extLst>
              <a:ext uri="{FF2B5EF4-FFF2-40B4-BE49-F238E27FC236}">
                <a16:creationId xmlns:a16="http://schemas.microsoft.com/office/drawing/2014/main" id="{4DF64A59-F14B-6897-5DA8-4518E033B3A1}"/>
              </a:ext>
            </a:extLst>
          </p:cNvPr>
          <p:cNvSpPr/>
          <p:nvPr/>
        </p:nvSpPr>
        <p:spPr>
          <a:xfrm>
            <a:off x="1125637" y="297224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US" sz="2133" b="1" kern="0">
                <a:cs typeface="Arial" panose="020B0604020202020204" pitchFamily="34" charset="0"/>
              </a:rPr>
              <a:t>From OOP to MVC Pattern</a:t>
            </a:r>
            <a:endParaRPr lang="en-IN" sz="2133" b="1" kern="0">
              <a:cs typeface="Arial" panose="020B0604020202020204" pitchFamily="34" charset="0"/>
            </a:endParaRPr>
          </a:p>
        </p:txBody>
      </p:sp>
      <p:sp>
        <p:nvSpPr>
          <p:cNvPr id="67" name="Oval 66">
            <a:extLst>
              <a:ext uri="{FF2B5EF4-FFF2-40B4-BE49-F238E27FC236}">
                <a16:creationId xmlns:a16="http://schemas.microsoft.com/office/drawing/2014/main" id="{32E4ECB2-EF44-3F75-2577-EA5AF77003E1}"/>
              </a:ext>
            </a:extLst>
          </p:cNvPr>
          <p:cNvSpPr/>
          <p:nvPr/>
        </p:nvSpPr>
        <p:spPr>
          <a:xfrm>
            <a:off x="819227" y="297686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9" name="Pentagon 23">
            <a:extLst>
              <a:ext uri="{FF2B5EF4-FFF2-40B4-BE49-F238E27FC236}">
                <a16:creationId xmlns:a16="http://schemas.microsoft.com/office/drawing/2014/main" id="{FE52C954-768F-3FCA-7622-C82F5057646A}"/>
              </a:ext>
            </a:extLst>
          </p:cNvPr>
          <p:cNvSpPr/>
          <p:nvPr/>
        </p:nvSpPr>
        <p:spPr>
          <a:xfrm>
            <a:off x="1145628" y="375128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 to Design pattern</a:t>
            </a:r>
          </a:p>
        </p:txBody>
      </p:sp>
      <p:sp>
        <p:nvSpPr>
          <p:cNvPr id="71" name="Oval 70">
            <a:extLst>
              <a:ext uri="{FF2B5EF4-FFF2-40B4-BE49-F238E27FC236}">
                <a16:creationId xmlns:a16="http://schemas.microsoft.com/office/drawing/2014/main" id="{6EB4E7E0-3C85-1975-BB96-8679FE863E33}"/>
              </a:ext>
            </a:extLst>
          </p:cNvPr>
          <p:cNvSpPr/>
          <p:nvPr/>
        </p:nvSpPr>
        <p:spPr>
          <a:xfrm>
            <a:off x="839218" y="375590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3" name="Pentagon 23">
            <a:extLst>
              <a:ext uri="{FF2B5EF4-FFF2-40B4-BE49-F238E27FC236}">
                <a16:creationId xmlns:a16="http://schemas.microsoft.com/office/drawing/2014/main" id="{A0DF5099-3F9D-FD74-E8AC-C3C8489FECAD}"/>
              </a:ext>
            </a:extLst>
          </p:cNvPr>
          <p:cNvSpPr/>
          <p:nvPr/>
        </p:nvSpPr>
        <p:spPr>
          <a:xfrm>
            <a:off x="1145628" y="452570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Summarize	</a:t>
            </a:r>
          </a:p>
        </p:txBody>
      </p:sp>
      <p:sp>
        <p:nvSpPr>
          <p:cNvPr id="75" name="Oval 74">
            <a:extLst>
              <a:ext uri="{FF2B5EF4-FFF2-40B4-BE49-F238E27FC236}">
                <a16:creationId xmlns:a16="http://schemas.microsoft.com/office/drawing/2014/main" id="{C4A0805E-7274-BF67-74AF-E5037B91C888}"/>
              </a:ext>
            </a:extLst>
          </p:cNvPr>
          <p:cNvSpPr/>
          <p:nvPr/>
        </p:nvSpPr>
        <p:spPr>
          <a:xfrm>
            <a:off x="839218" y="453032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7" name="Pentagon 23">
            <a:extLst>
              <a:ext uri="{FF2B5EF4-FFF2-40B4-BE49-F238E27FC236}">
                <a16:creationId xmlns:a16="http://schemas.microsoft.com/office/drawing/2014/main" id="{1C8CEF69-E7A2-2D0D-33AB-7E2E99D02DD6}"/>
              </a:ext>
            </a:extLst>
          </p:cNvPr>
          <p:cNvSpPr/>
          <p:nvPr/>
        </p:nvSpPr>
        <p:spPr>
          <a:xfrm>
            <a:off x="1145628" y="52955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Q&amp;A</a:t>
            </a:r>
          </a:p>
        </p:txBody>
      </p:sp>
      <p:sp>
        <p:nvSpPr>
          <p:cNvPr id="79" name="Oval 78">
            <a:extLst>
              <a:ext uri="{FF2B5EF4-FFF2-40B4-BE49-F238E27FC236}">
                <a16:creationId xmlns:a16="http://schemas.microsoft.com/office/drawing/2014/main" id="{F2ED4571-F02C-1835-A1E6-C3F83E39CEB0}"/>
              </a:ext>
            </a:extLst>
          </p:cNvPr>
          <p:cNvSpPr/>
          <p:nvPr/>
        </p:nvSpPr>
        <p:spPr>
          <a:xfrm>
            <a:off x="839218" y="53001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pic>
        <p:nvPicPr>
          <p:cNvPr id="82" name="Graphic 81" descr="Link with solid fill">
            <a:extLst>
              <a:ext uri="{FF2B5EF4-FFF2-40B4-BE49-F238E27FC236}">
                <a16:creationId xmlns:a16="http://schemas.microsoft.com/office/drawing/2014/main" id="{C2F0AFED-92B1-95CF-879E-FC0A87C46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987" y="3092622"/>
            <a:ext cx="392051" cy="392051"/>
          </a:xfrm>
          <a:prstGeom prst="rect">
            <a:avLst/>
          </a:prstGeom>
        </p:spPr>
      </p:pic>
      <p:pic>
        <p:nvPicPr>
          <p:cNvPr id="84" name="Graphic 83" descr="Beginning with solid fill">
            <a:extLst>
              <a:ext uri="{FF2B5EF4-FFF2-40B4-BE49-F238E27FC236}">
                <a16:creationId xmlns:a16="http://schemas.microsoft.com/office/drawing/2014/main" id="{8943C64C-301A-050E-AA8B-1A7E381B25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2853" y="2316839"/>
            <a:ext cx="376301" cy="376301"/>
          </a:xfrm>
          <a:prstGeom prst="rect">
            <a:avLst/>
          </a:prstGeom>
        </p:spPr>
      </p:pic>
      <p:pic>
        <p:nvPicPr>
          <p:cNvPr id="86" name="Graphic 85" descr="Document with solid fill">
            <a:extLst>
              <a:ext uri="{FF2B5EF4-FFF2-40B4-BE49-F238E27FC236}">
                <a16:creationId xmlns:a16="http://schemas.microsoft.com/office/drawing/2014/main" id="{B284069A-20B2-FE9A-0D4D-212FF7F88D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6129" y="3882813"/>
            <a:ext cx="369748" cy="369748"/>
          </a:xfrm>
          <a:prstGeom prst="rect">
            <a:avLst/>
          </a:prstGeom>
        </p:spPr>
      </p:pic>
      <p:pic>
        <p:nvPicPr>
          <p:cNvPr id="88" name="Graphic 87" descr="Clipboard Partially Checked with solid fill">
            <a:extLst>
              <a:ext uri="{FF2B5EF4-FFF2-40B4-BE49-F238E27FC236}">
                <a16:creationId xmlns:a16="http://schemas.microsoft.com/office/drawing/2014/main" id="{49AB76FA-134A-CF98-5B5C-D1ABE51235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3878" y="4634984"/>
            <a:ext cx="414251" cy="414251"/>
          </a:xfrm>
          <a:prstGeom prst="rect">
            <a:avLst/>
          </a:prstGeom>
        </p:spPr>
      </p:pic>
      <p:pic>
        <p:nvPicPr>
          <p:cNvPr id="90" name="Graphic 89" descr="Customer review with solid fill">
            <a:extLst>
              <a:ext uri="{FF2B5EF4-FFF2-40B4-BE49-F238E27FC236}">
                <a16:creationId xmlns:a16="http://schemas.microsoft.com/office/drawing/2014/main" id="{1F145EE0-CDF6-91BD-28A0-D8FF0CB8B9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751" y="5405661"/>
            <a:ext cx="412505" cy="412505"/>
          </a:xfrm>
          <a:prstGeom prst="rect">
            <a:avLst/>
          </a:prstGeom>
        </p:spPr>
      </p:pic>
    </p:spTree>
    <p:custDataLst>
      <p:tags r:id="rId1"/>
    </p:custDataLst>
    <p:extLst>
      <p:ext uri="{BB962C8B-B14F-4D97-AF65-F5344CB8AC3E}">
        <p14:creationId xmlns:p14="http://schemas.microsoft.com/office/powerpoint/2010/main" val="3742056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pic>
        <p:nvPicPr>
          <p:cNvPr id="2" name="idea64_5h9J98kzar">
            <a:hlinkClick r:id="" action="ppaction://media"/>
            <a:extLst>
              <a:ext uri="{FF2B5EF4-FFF2-40B4-BE49-F238E27FC236}">
                <a16:creationId xmlns:a16="http://schemas.microsoft.com/office/drawing/2014/main" id="{69ECD3BD-511F-7A07-E29C-14255D015334}"/>
              </a:ext>
            </a:extLst>
          </p:cNvPr>
          <p:cNvPicPr>
            <a:picLocks noChangeAspect="1"/>
          </p:cNvPicPr>
          <p:nvPr>
            <a:videoFile r:link="rId2"/>
            <p:extLst>
              <p:ext uri="{DAA4B4D4-6D71-4841-9C94-3DE7FCFB9230}">
                <p14:media xmlns:p14="http://schemas.microsoft.com/office/powerpoint/2010/main" r:embed="rId1">
                  <p14:bmkLst>
                    <p14:bmk name="Bookmark 1" time="4997.4589"/>
                    <p14:bmk name="Bookmark 2" time="7101.6521"/>
                    <p14:bmk name="Bookmark 3" time="8980.3961"/>
                    <p14:bmk name="Bookmark 4" time="15105.1014"/>
                    <p14:bmk name="Bookmark 5" time="17322.0193"/>
                  </p14:bmkLst>
                </p14:media>
              </p:ext>
            </p:extLst>
          </p:nvPr>
        </p:nvPicPr>
        <p:blipFill>
          <a:blip r:embed="rId4"/>
          <a:stretch>
            <a:fillRect/>
          </a:stretch>
        </p:blipFill>
        <p:spPr>
          <a:xfrm>
            <a:off x="1140088" y="1902517"/>
            <a:ext cx="9911822" cy="3794369"/>
          </a:xfrm>
          <a:prstGeom prst="rect">
            <a:avLst/>
          </a:prstGeom>
        </p:spPr>
      </p:pic>
      <p:sp>
        <p:nvSpPr>
          <p:cNvPr id="5" name="TextBox 4">
            <a:extLst>
              <a:ext uri="{FF2B5EF4-FFF2-40B4-BE49-F238E27FC236}">
                <a16:creationId xmlns:a16="http://schemas.microsoft.com/office/drawing/2014/main" id="{4EDF4FE9-049A-4C69-20E6-9CD48D41CB3E}"/>
              </a:ext>
            </a:extLst>
          </p:cNvPr>
          <p:cNvSpPr txBox="1"/>
          <p:nvPr/>
        </p:nvSpPr>
        <p:spPr>
          <a:xfrm>
            <a:off x="2406072" y="5930531"/>
            <a:ext cx="7379855" cy="314036"/>
          </a:xfrm>
          <a:prstGeom prst="rect">
            <a:avLst/>
          </a:prstGeom>
          <a:noFill/>
        </p:spPr>
        <p:txBody>
          <a:bodyPr wrap="none" lIns="0" tIns="0" rIns="0" bIns="0" rtlCol="0">
            <a:noAutofit/>
          </a:bodyPr>
          <a:lstStyle/>
          <a:p>
            <a:pPr algn="ctr"/>
            <a:r>
              <a:rPr lang="en-US" sz="1600"/>
              <a:t>Member journey</a:t>
            </a:r>
            <a:endParaRPr lang="vi-VN" sz="1600" err="1"/>
          </a:p>
        </p:txBody>
      </p:sp>
    </p:spTree>
    <p:extLst>
      <p:ext uri="{BB962C8B-B14F-4D97-AF65-F5344CB8AC3E}">
        <p14:creationId xmlns:p14="http://schemas.microsoft.com/office/powerpoint/2010/main" val="385847584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333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MediaBookmark" delay="0">
                        <p:tgtEl>
                          <p14:bmkTgt spid="2" bmkName="Bookmark 1"/>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23334" fill="hold"/>
                                            <p:tgtEl>
                                              <p:spTgt spid="2"/>
                                            </p:tgtEl>
                                          </p:cBhvr>
                                        </p:cmd>
                                      </p:childTnLst>
                                    </p:cTn>
                                  </p:par>
                                </p:childTnLst>
                              </p:cTn>
                            </p:par>
                          </p:childTnLst>
                        </p:cTn>
                      </p:par>
                    </p:childTnLst>
                  </p:cTn>
                  <p:nextCondLst>
                    <p:cond evt="onMediaBookmark" delay="0">
                      <p:tgtEl>
                        <p14:bmkTgt spid="2" bmkName="Bookmark 1"/>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333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pic>
        <p:nvPicPr>
          <p:cNvPr id="5" name="idea64_044X4mPneV">
            <a:hlinkClick r:id="" action="ppaction://media"/>
            <a:extLst>
              <a:ext uri="{FF2B5EF4-FFF2-40B4-BE49-F238E27FC236}">
                <a16:creationId xmlns:a16="http://schemas.microsoft.com/office/drawing/2014/main" id="{1E2C4D27-8123-207A-67D9-4DCBEE309439}"/>
              </a:ext>
            </a:extLst>
          </p:cNvPr>
          <p:cNvPicPr>
            <a:picLocks noChangeAspect="1"/>
          </p:cNvPicPr>
          <p:nvPr>
            <a:videoFile r:link="rId2"/>
            <p:extLst>
              <p:ext uri="{DAA4B4D4-6D71-4841-9C94-3DE7FCFB9230}">
                <p14:media xmlns:p14="http://schemas.microsoft.com/office/powerpoint/2010/main" r:embed="rId1">
                  <p14:bmkLst>
                    <p14:bmk name="Bookmark 1" time="6979.0439"/>
                    <p14:bmk name="Bookmark 2" time="8693.195"/>
                    <p14:bmk name="Bookmark 3" time="10468.5659"/>
                    <p14:bmk name="Bookmark 4" time="15427.3602"/>
                    <p14:bmk name="Bookmark 5" time="22222.7451"/>
                    <p14:bmk name="Bookmark 6" time="26018.3655"/>
                  </p14:bmkLst>
                </p14:media>
              </p:ext>
            </p:extLst>
          </p:nvPr>
        </p:nvPicPr>
        <p:blipFill>
          <a:blip r:embed="rId4"/>
          <a:stretch>
            <a:fillRect/>
          </a:stretch>
        </p:blipFill>
        <p:spPr>
          <a:xfrm>
            <a:off x="1431902" y="1829128"/>
            <a:ext cx="9302188" cy="4415439"/>
          </a:xfrm>
          <a:prstGeom prst="rect">
            <a:avLst/>
          </a:prstGeom>
        </p:spPr>
      </p:pic>
      <p:sp>
        <p:nvSpPr>
          <p:cNvPr id="6" name="TextBox 5">
            <a:extLst>
              <a:ext uri="{FF2B5EF4-FFF2-40B4-BE49-F238E27FC236}">
                <a16:creationId xmlns:a16="http://schemas.microsoft.com/office/drawing/2014/main" id="{D67B34E6-78E9-CBB4-E373-20A014101100}"/>
              </a:ext>
            </a:extLst>
          </p:cNvPr>
          <p:cNvSpPr txBox="1"/>
          <p:nvPr/>
        </p:nvSpPr>
        <p:spPr>
          <a:xfrm>
            <a:off x="2537129" y="5930531"/>
            <a:ext cx="7117742" cy="314036"/>
          </a:xfrm>
          <a:prstGeom prst="rect">
            <a:avLst/>
          </a:prstGeom>
          <a:noFill/>
        </p:spPr>
        <p:txBody>
          <a:bodyPr wrap="none" lIns="0" tIns="0" rIns="0" bIns="0" rtlCol="0">
            <a:noAutofit/>
          </a:bodyPr>
          <a:lstStyle/>
          <a:p>
            <a:pPr algn="ctr"/>
            <a:r>
              <a:rPr lang="en-US" sz="1600"/>
              <a:t>Organizer journey</a:t>
            </a:r>
            <a:endParaRPr lang="vi-VN" sz="1600" err="1"/>
          </a:p>
        </p:txBody>
      </p:sp>
    </p:spTree>
    <p:extLst>
      <p:ext uri="{BB962C8B-B14F-4D97-AF65-F5344CB8AC3E}">
        <p14:creationId xmlns:p14="http://schemas.microsoft.com/office/powerpoint/2010/main" val="1079040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83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lstStyle/>
          <a:p>
            <a:pPr marL="0" indent="0">
              <a:buNone/>
            </a:pPr>
            <a:r>
              <a:rPr lang="en-US" sz="2000" b="1"/>
              <a:t>The context:</a:t>
            </a:r>
          </a:p>
          <a:p>
            <a:pPr indent="401638"/>
            <a:r>
              <a:rPr lang="en-US" sz="2800"/>
              <a:t>Each role could have a very different view for a same data model</a:t>
            </a:r>
            <a:endParaRPr lang="vi-VN" sz="2800"/>
          </a:p>
        </p:txBody>
      </p:sp>
      <p:pic>
        <p:nvPicPr>
          <p:cNvPr id="6" name="Picture 5">
            <a:extLst>
              <a:ext uri="{FF2B5EF4-FFF2-40B4-BE49-F238E27FC236}">
                <a16:creationId xmlns:a16="http://schemas.microsoft.com/office/drawing/2014/main" id="{D3CE16FC-6E8C-2C5B-92D2-B3ADF4758AE6}"/>
              </a:ext>
            </a:extLst>
          </p:cNvPr>
          <p:cNvPicPr>
            <a:picLocks noChangeAspect="1"/>
          </p:cNvPicPr>
          <p:nvPr/>
        </p:nvPicPr>
        <p:blipFill rotWithShape="1">
          <a:blip r:embed="rId2"/>
          <a:srcRect r="17325"/>
          <a:stretch/>
        </p:blipFill>
        <p:spPr>
          <a:xfrm>
            <a:off x="1028700" y="2760807"/>
            <a:ext cx="4346864" cy="325755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58DEBCB-0857-C01B-E07B-1F14AE7F2655}"/>
              </a:ext>
            </a:extLst>
          </p:cNvPr>
          <p:cNvPicPr>
            <a:picLocks noChangeAspect="1"/>
          </p:cNvPicPr>
          <p:nvPr/>
        </p:nvPicPr>
        <p:blipFill rotWithShape="1">
          <a:blip r:embed="rId3"/>
          <a:srcRect r="18885"/>
          <a:stretch/>
        </p:blipFill>
        <p:spPr>
          <a:xfrm>
            <a:off x="6222667" y="2641698"/>
            <a:ext cx="4205188" cy="375669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496288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lstStyle/>
          <a:p>
            <a:pPr marL="0" indent="0">
              <a:buNone/>
            </a:pPr>
            <a:r>
              <a:rPr lang="en-US" sz="2000" b="1"/>
              <a:t>The context:</a:t>
            </a:r>
          </a:p>
          <a:p>
            <a:pPr indent="401638"/>
            <a:r>
              <a:rPr lang="en-US" sz="2800"/>
              <a:t>Each role could have a very different view for a same data model</a:t>
            </a:r>
            <a:endParaRPr lang="vi-VN" sz="2800"/>
          </a:p>
        </p:txBody>
      </p:sp>
      <p:pic>
        <p:nvPicPr>
          <p:cNvPr id="6" name="Picture 5">
            <a:extLst>
              <a:ext uri="{FF2B5EF4-FFF2-40B4-BE49-F238E27FC236}">
                <a16:creationId xmlns:a16="http://schemas.microsoft.com/office/drawing/2014/main" id="{D3CE16FC-6E8C-2C5B-92D2-B3ADF4758AE6}"/>
              </a:ext>
            </a:extLst>
          </p:cNvPr>
          <p:cNvPicPr>
            <a:picLocks noChangeAspect="1"/>
          </p:cNvPicPr>
          <p:nvPr/>
        </p:nvPicPr>
        <p:blipFill rotWithShape="1">
          <a:blip r:embed="rId2">
            <a:extLst>
              <a:ext uri="{28A0092B-C50C-407E-A947-70E740481C1C}">
                <a14:useLocalDpi xmlns:a14="http://schemas.microsoft.com/office/drawing/2010/main" val="0"/>
              </a:ext>
            </a:extLst>
          </a:blip>
          <a:srcRect l="159" r="19911"/>
          <a:stretch/>
        </p:blipFill>
        <p:spPr>
          <a:xfrm>
            <a:off x="1028700" y="2760807"/>
            <a:ext cx="4117242" cy="296573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58DEBCB-0857-C01B-E07B-1F14AE7F2655}"/>
              </a:ext>
            </a:extLst>
          </p:cNvPr>
          <p:cNvPicPr>
            <a:picLocks noChangeAspect="1"/>
          </p:cNvPicPr>
          <p:nvPr/>
        </p:nvPicPr>
        <p:blipFill rotWithShape="1">
          <a:blip r:embed="rId3">
            <a:extLst>
              <a:ext uri="{28A0092B-C50C-407E-A947-70E740481C1C}">
                <a14:useLocalDpi xmlns:a14="http://schemas.microsoft.com/office/drawing/2010/main" val="0"/>
              </a:ext>
            </a:extLst>
          </a:blip>
          <a:srcRect l="-164" r="42923"/>
          <a:stretch/>
        </p:blipFill>
        <p:spPr>
          <a:xfrm>
            <a:off x="6222667" y="2641698"/>
            <a:ext cx="4436097" cy="324929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924737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lstStyle/>
          <a:p>
            <a:pPr marL="0" indent="0">
              <a:buNone/>
            </a:pPr>
            <a:r>
              <a:rPr lang="en-US" sz="2000" b="1"/>
              <a:t>The context:</a:t>
            </a:r>
          </a:p>
          <a:p>
            <a:pPr indent="401638"/>
            <a:r>
              <a:rPr lang="en-US" sz="2800"/>
              <a:t>Each role could have a very different view for a same data model</a:t>
            </a:r>
          </a:p>
          <a:p>
            <a:pPr indent="401638"/>
            <a:r>
              <a:rPr lang="en-US" sz="2800"/>
              <a:t>Different views could have some interactions in common</a:t>
            </a:r>
            <a:endParaRPr lang="vi-VN" sz="2800"/>
          </a:p>
        </p:txBody>
      </p:sp>
      <p:pic>
        <p:nvPicPr>
          <p:cNvPr id="4" name="Picture 3">
            <a:extLst>
              <a:ext uri="{FF2B5EF4-FFF2-40B4-BE49-F238E27FC236}">
                <a16:creationId xmlns:a16="http://schemas.microsoft.com/office/drawing/2014/main" id="{ADD2E7DF-538B-5100-F7E0-8BC60F38F528}"/>
              </a:ext>
            </a:extLst>
          </p:cNvPr>
          <p:cNvPicPr>
            <a:picLocks noChangeAspect="1"/>
          </p:cNvPicPr>
          <p:nvPr/>
        </p:nvPicPr>
        <p:blipFill rotWithShape="1">
          <a:blip r:embed="rId2">
            <a:extLst>
              <a:ext uri="{28A0092B-C50C-407E-A947-70E740481C1C}">
                <a14:useLocalDpi xmlns:a14="http://schemas.microsoft.com/office/drawing/2010/main" val="0"/>
              </a:ext>
            </a:extLst>
          </a:blip>
          <a:srcRect l="159" r="19911"/>
          <a:stretch/>
        </p:blipFill>
        <p:spPr>
          <a:xfrm>
            <a:off x="1028700" y="3035663"/>
            <a:ext cx="4117242" cy="2965738"/>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2976DA4C-D728-1D7D-EA74-35E22B8941F7}"/>
              </a:ext>
            </a:extLst>
          </p:cNvPr>
          <p:cNvPicPr>
            <a:picLocks noChangeAspect="1"/>
          </p:cNvPicPr>
          <p:nvPr/>
        </p:nvPicPr>
        <p:blipFill rotWithShape="1">
          <a:blip r:embed="rId3">
            <a:extLst>
              <a:ext uri="{28A0092B-C50C-407E-A947-70E740481C1C}">
                <a14:useLocalDpi xmlns:a14="http://schemas.microsoft.com/office/drawing/2010/main" val="0"/>
              </a:ext>
            </a:extLst>
          </a:blip>
          <a:srcRect l="-164" r="42923"/>
          <a:stretch/>
        </p:blipFill>
        <p:spPr>
          <a:xfrm>
            <a:off x="6222668" y="3034502"/>
            <a:ext cx="4048966" cy="29657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77327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1662212"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extLst>
              <p:ext uri="{D42A27DB-BD31-4B8C-83A1-F6EECF244321}">
                <p14:modId xmlns:p14="http://schemas.microsoft.com/office/powerpoint/2010/main" val="1391920618"/>
              </p:ext>
            </p:extLst>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10717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lstStyle/>
          <a:p>
            <a:pPr marL="0" indent="0">
              <a:lnSpc>
                <a:spcPct val="150000"/>
              </a:lnSpc>
              <a:buNone/>
            </a:pPr>
            <a:r>
              <a:rPr lang="en-US" sz="2000" b="1"/>
              <a:t>The context:</a:t>
            </a:r>
          </a:p>
          <a:p>
            <a:pPr indent="401638">
              <a:lnSpc>
                <a:spcPct val="150000"/>
              </a:lnSpc>
            </a:pPr>
            <a:r>
              <a:rPr lang="en-US" sz="2800"/>
              <a:t>Each role could have a very different view for a same data model</a:t>
            </a:r>
          </a:p>
          <a:p>
            <a:pPr indent="401638">
              <a:lnSpc>
                <a:spcPct val="150000"/>
              </a:lnSpc>
            </a:pPr>
            <a:r>
              <a:rPr lang="en-US" sz="2800"/>
              <a:t>Different views could have some interactions in common</a:t>
            </a:r>
          </a:p>
          <a:p>
            <a:pPr indent="0">
              <a:lnSpc>
                <a:spcPct val="150000"/>
              </a:lnSpc>
              <a:buNone/>
            </a:pPr>
            <a:r>
              <a:rPr lang="en-US" sz="2800">
                <a:sym typeface="Wingdings" panose="05000000000000000000" pitchFamily="2" charset="2"/>
              </a:rPr>
              <a:t> The specification of each view class could cause the fragmentation of the logic codes</a:t>
            </a:r>
            <a:endParaRPr lang="vi-VN" sz="2800"/>
          </a:p>
        </p:txBody>
      </p:sp>
    </p:spTree>
    <p:extLst>
      <p:ext uri="{BB962C8B-B14F-4D97-AF65-F5344CB8AC3E}">
        <p14:creationId xmlns:p14="http://schemas.microsoft.com/office/powerpoint/2010/main" val="2348834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20" name="Diagram 19">
            <a:extLst>
              <a:ext uri="{FF2B5EF4-FFF2-40B4-BE49-F238E27FC236}">
                <a16:creationId xmlns:a16="http://schemas.microsoft.com/office/drawing/2014/main" id="{9BA954E4-481F-DBFE-D120-F6F3377538B5}"/>
              </a:ext>
            </a:extLst>
          </p:cNvPr>
          <p:cNvGraphicFramePr/>
          <p:nvPr>
            <p:extLst>
              <p:ext uri="{D42A27DB-BD31-4B8C-83A1-F6EECF244321}">
                <p14:modId xmlns:p14="http://schemas.microsoft.com/office/powerpoint/2010/main" val="3754318672"/>
              </p:ext>
            </p:extLst>
          </p:nvPr>
        </p:nvGraphicFramePr>
        <p:xfrm>
          <a:off x="1574799" y="22305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angle 8">
            <a:extLst>
              <a:ext uri="{FF2B5EF4-FFF2-40B4-BE49-F238E27FC236}">
                <a16:creationId xmlns:a16="http://schemas.microsoft.com/office/drawing/2014/main" id="{0A3AE4CF-A11A-C08E-140C-DA8705DF5D05}"/>
              </a:ext>
            </a:extLst>
          </p:cNvPr>
          <p:cNvSpPr/>
          <p:nvPr/>
        </p:nvSpPr>
        <p:spPr>
          <a:xfrm>
            <a:off x="1219199" y="1902517"/>
            <a:ext cx="10144125" cy="4183958"/>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11" name="Picture 10">
            <a:extLst>
              <a:ext uri="{FF2B5EF4-FFF2-40B4-BE49-F238E27FC236}">
                <a16:creationId xmlns:a16="http://schemas.microsoft.com/office/drawing/2014/main" id="{F531948D-259D-08BB-198F-99866EEA2E25}"/>
              </a:ext>
            </a:extLst>
          </p:cNvPr>
          <p:cNvPicPr>
            <a:picLocks noChangeAspect="1"/>
          </p:cNvPicPr>
          <p:nvPr/>
        </p:nvPicPr>
        <p:blipFill>
          <a:blip r:embed="rId7"/>
          <a:stretch>
            <a:fillRect/>
          </a:stretch>
        </p:blipFill>
        <p:spPr>
          <a:xfrm>
            <a:off x="828676" y="1825823"/>
            <a:ext cx="5158161" cy="4503075"/>
          </a:xfrm>
          <a:prstGeom prst="rect">
            <a:avLst/>
          </a:prstGeom>
          <a:ln>
            <a:solidFill>
              <a:srgbClr val="0F2047"/>
            </a:solidFill>
          </a:ln>
        </p:spPr>
      </p:pic>
      <p:pic>
        <p:nvPicPr>
          <p:cNvPr id="13" name="Picture 12">
            <a:extLst>
              <a:ext uri="{FF2B5EF4-FFF2-40B4-BE49-F238E27FC236}">
                <a16:creationId xmlns:a16="http://schemas.microsoft.com/office/drawing/2014/main" id="{F6F784D1-285E-D21C-DCCB-295B0C9DDB37}"/>
              </a:ext>
            </a:extLst>
          </p:cNvPr>
          <p:cNvPicPr>
            <a:picLocks noChangeAspect="1"/>
          </p:cNvPicPr>
          <p:nvPr/>
        </p:nvPicPr>
        <p:blipFill>
          <a:blip r:embed="rId8"/>
          <a:stretch>
            <a:fillRect/>
          </a:stretch>
        </p:blipFill>
        <p:spPr>
          <a:xfrm>
            <a:off x="8606459" y="73630"/>
            <a:ext cx="2597249" cy="2155220"/>
          </a:xfrm>
          <a:prstGeom prst="rect">
            <a:avLst/>
          </a:prstGeom>
        </p:spPr>
      </p:pic>
      <p:pic>
        <p:nvPicPr>
          <p:cNvPr id="15" name="Picture 14">
            <a:extLst>
              <a:ext uri="{FF2B5EF4-FFF2-40B4-BE49-F238E27FC236}">
                <a16:creationId xmlns:a16="http://schemas.microsoft.com/office/drawing/2014/main" id="{0AC5C287-102B-1FC8-2606-0041DF5C2652}"/>
              </a:ext>
            </a:extLst>
          </p:cNvPr>
          <p:cNvPicPr>
            <a:picLocks noChangeAspect="1"/>
          </p:cNvPicPr>
          <p:nvPr/>
        </p:nvPicPr>
        <p:blipFill>
          <a:blip r:embed="rId9"/>
          <a:stretch>
            <a:fillRect/>
          </a:stretch>
        </p:blipFill>
        <p:spPr>
          <a:xfrm>
            <a:off x="7726717" y="2424978"/>
            <a:ext cx="3476991" cy="2008044"/>
          </a:xfrm>
          <a:prstGeom prst="rect">
            <a:avLst/>
          </a:prstGeom>
        </p:spPr>
      </p:pic>
      <p:pic>
        <p:nvPicPr>
          <p:cNvPr id="17" name="Picture 16">
            <a:extLst>
              <a:ext uri="{FF2B5EF4-FFF2-40B4-BE49-F238E27FC236}">
                <a16:creationId xmlns:a16="http://schemas.microsoft.com/office/drawing/2014/main" id="{0B62D019-30F9-445B-8E55-68CA321DCDEA}"/>
              </a:ext>
            </a:extLst>
          </p:cNvPr>
          <p:cNvPicPr>
            <a:picLocks noChangeAspect="1"/>
          </p:cNvPicPr>
          <p:nvPr/>
        </p:nvPicPr>
        <p:blipFill>
          <a:blip r:embed="rId10"/>
          <a:stretch>
            <a:fillRect/>
          </a:stretch>
        </p:blipFill>
        <p:spPr>
          <a:xfrm>
            <a:off x="6980424" y="4629150"/>
            <a:ext cx="4268599" cy="1607388"/>
          </a:xfrm>
          <a:prstGeom prst="rect">
            <a:avLst/>
          </a:prstGeom>
        </p:spPr>
      </p:pic>
    </p:spTree>
    <p:extLst>
      <p:ext uri="{BB962C8B-B14F-4D97-AF65-F5344CB8AC3E}">
        <p14:creationId xmlns:p14="http://schemas.microsoft.com/office/powerpoint/2010/main" val="16307975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5" name="Diagram 4">
            <a:extLst>
              <a:ext uri="{FF2B5EF4-FFF2-40B4-BE49-F238E27FC236}">
                <a16:creationId xmlns:a16="http://schemas.microsoft.com/office/drawing/2014/main" id="{4157D87B-8215-9641-C933-4210E475FE4F}"/>
              </a:ext>
            </a:extLst>
          </p:cNvPr>
          <p:cNvGraphicFramePr/>
          <p:nvPr>
            <p:extLst>
              <p:ext uri="{D42A27DB-BD31-4B8C-83A1-F6EECF244321}">
                <p14:modId xmlns:p14="http://schemas.microsoft.com/office/powerpoint/2010/main" val="190887030"/>
              </p:ext>
            </p:extLst>
          </p:nvPr>
        </p:nvGraphicFramePr>
        <p:xfrm>
          <a:off x="1574799" y="22305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angle 8">
            <a:extLst>
              <a:ext uri="{FF2B5EF4-FFF2-40B4-BE49-F238E27FC236}">
                <a16:creationId xmlns:a16="http://schemas.microsoft.com/office/drawing/2014/main" id="{0A3AE4CF-A11A-C08E-140C-DA8705DF5D05}"/>
              </a:ext>
            </a:extLst>
          </p:cNvPr>
          <p:cNvSpPr/>
          <p:nvPr/>
        </p:nvSpPr>
        <p:spPr>
          <a:xfrm>
            <a:off x="1219199" y="1902517"/>
            <a:ext cx="10144125" cy="4183958"/>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11" name="Picture 10">
            <a:extLst>
              <a:ext uri="{FF2B5EF4-FFF2-40B4-BE49-F238E27FC236}">
                <a16:creationId xmlns:a16="http://schemas.microsoft.com/office/drawing/2014/main" id="{F531948D-259D-08BB-198F-99866EEA2E25}"/>
              </a:ext>
            </a:extLst>
          </p:cNvPr>
          <p:cNvPicPr>
            <a:picLocks noChangeAspect="1"/>
          </p:cNvPicPr>
          <p:nvPr/>
        </p:nvPicPr>
        <p:blipFill>
          <a:blip r:embed="rId7"/>
          <a:stretch>
            <a:fillRect/>
          </a:stretch>
        </p:blipFill>
        <p:spPr>
          <a:xfrm>
            <a:off x="8742006" y="74065"/>
            <a:ext cx="2461702" cy="2149066"/>
          </a:xfrm>
          <a:prstGeom prst="rect">
            <a:avLst/>
          </a:prstGeom>
        </p:spPr>
      </p:pic>
      <p:pic>
        <p:nvPicPr>
          <p:cNvPr id="13" name="Picture 12">
            <a:extLst>
              <a:ext uri="{FF2B5EF4-FFF2-40B4-BE49-F238E27FC236}">
                <a16:creationId xmlns:a16="http://schemas.microsoft.com/office/drawing/2014/main" id="{F6F784D1-285E-D21C-DCCB-295B0C9DDB37}"/>
              </a:ext>
            </a:extLst>
          </p:cNvPr>
          <p:cNvPicPr>
            <a:picLocks noChangeAspect="1"/>
          </p:cNvPicPr>
          <p:nvPr/>
        </p:nvPicPr>
        <p:blipFill>
          <a:blip r:embed="rId8"/>
          <a:stretch>
            <a:fillRect/>
          </a:stretch>
        </p:blipFill>
        <p:spPr>
          <a:xfrm>
            <a:off x="582106" y="1805140"/>
            <a:ext cx="5372200" cy="4457899"/>
          </a:xfrm>
          <a:prstGeom prst="rect">
            <a:avLst/>
          </a:prstGeom>
          <a:ln>
            <a:solidFill>
              <a:srgbClr val="0F2047"/>
            </a:solidFill>
          </a:ln>
        </p:spPr>
      </p:pic>
      <p:pic>
        <p:nvPicPr>
          <p:cNvPr id="15" name="Picture 14">
            <a:extLst>
              <a:ext uri="{FF2B5EF4-FFF2-40B4-BE49-F238E27FC236}">
                <a16:creationId xmlns:a16="http://schemas.microsoft.com/office/drawing/2014/main" id="{0AC5C287-102B-1FC8-2606-0041DF5C2652}"/>
              </a:ext>
            </a:extLst>
          </p:cNvPr>
          <p:cNvPicPr>
            <a:picLocks noChangeAspect="1"/>
          </p:cNvPicPr>
          <p:nvPr/>
        </p:nvPicPr>
        <p:blipFill>
          <a:blip r:embed="rId9"/>
          <a:stretch>
            <a:fillRect/>
          </a:stretch>
        </p:blipFill>
        <p:spPr>
          <a:xfrm>
            <a:off x="7726717" y="2424978"/>
            <a:ext cx="3476991" cy="2008044"/>
          </a:xfrm>
          <a:prstGeom prst="rect">
            <a:avLst/>
          </a:prstGeom>
        </p:spPr>
      </p:pic>
      <p:pic>
        <p:nvPicPr>
          <p:cNvPr id="17" name="Picture 16">
            <a:extLst>
              <a:ext uri="{FF2B5EF4-FFF2-40B4-BE49-F238E27FC236}">
                <a16:creationId xmlns:a16="http://schemas.microsoft.com/office/drawing/2014/main" id="{0B62D019-30F9-445B-8E55-68CA321DCDEA}"/>
              </a:ext>
            </a:extLst>
          </p:cNvPr>
          <p:cNvPicPr>
            <a:picLocks noChangeAspect="1"/>
          </p:cNvPicPr>
          <p:nvPr/>
        </p:nvPicPr>
        <p:blipFill>
          <a:blip r:embed="rId10"/>
          <a:stretch>
            <a:fillRect/>
          </a:stretch>
        </p:blipFill>
        <p:spPr>
          <a:xfrm>
            <a:off x="6980424" y="4629150"/>
            <a:ext cx="4268599" cy="1607388"/>
          </a:xfrm>
          <a:prstGeom prst="rect">
            <a:avLst/>
          </a:prstGeom>
        </p:spPr>
      </p:pic>
    </p:spTree>
    <p:extLst>
      <p:ext uri="{BB962C8B-B14F-4D97-AF65-F5344CB8AC3E}">
        <p14:creationId xmlns:p14="http://schemas.microsoft.com/office/powerpoint/2010/main" val="2779467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2" name="Diagram 1">
            <a:extLst>
              <a:ext uri="{FF2B5EF4-FFF2-40B4-BE49-F238E27FC236}">
                <a16:creationId xmlns:a16="http://schemas.microsoft.com/office/drawing/2014/main" id="{C2049B7B-97FE-E4B2-3E59-3DF34E1EF673}"/>
              </a:ext>
            </a:extLst>
          </p:cNvPr>
          <p:cNvGraphicFramePr/>
          <p:nvPr>
            <p:extLst>
              <p:ext uri="{D42A27DB-BD31-4B8C-83A1-F6EECF244321}">
                <p14:modId xmlns:p14="http://schemas.microsoft.com/office/powerpoint/2010/main" val="1502204294"/>
              </p:ext>
            </p:extLst>
          </p:nvPr>
        </p:nvGraphicFramePr>
        <p:xfrm>
          <a:off x="1574799" y="22305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angle 8">
            <a:extLst>
              <a:ext uri="{FF2B5EF4-FFF2-40B4-BE49-F238E27FC236}">
                <a16:creationId xmlns:a16="http://schemas.microsoft.com/office/drawing/2014/main" id="{0A3AE4CF-A11A-C08E-140C-DA8705DF5D05}"/>
              </a:ext>
            </a:extLst>
          </p:cNvPr>
          <p:cNvSpPr/>
          <p:nvPr/>
        </p:nvSpPr>
        <p:spPr>
          <a:xfrm>
            <a:off x="1219199" y="1902517"/>
            <a:ext cx="10144125" cy="4183958"/>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11" name="Picture 10">
            <a:extLst>
              <a:ext uri="{FF2B5EF4-FFF2-40B4-BE49-F238E27FC236}">
                <a16:creationId xmlns:a16="http://schemas.microsoft.com/office/drawing/2014/main" id="{F531948D-259D-08BB-198F-99866EEA2E25}"/>
              </a:ext>
            </a:extLst>
          </p:cNvPr>
          <p:cNvPicPr>
            <a:picLocks noChangeAspect="1"/>
          </p:cNvPicPr>
          <p:nvPr/>
        </p:nvPicPr>
        <p:blipFill>
          <a:blip r:embed="rId7"/>
          <a:stretch>
            <a:fillRect/>
          </a:stretch>
        </p:blipFill>
        <p:spPr>
          <a:xfrm>
            <a:off x="8742006" y="74065"/>
            <a:ext cx="2461702" cy="2149066"/>
          </a:xfrm>
          <a:prstGeom prst="rect">
            <a:avLst/>
          </a:prstGeom>
        </p:spPr>
      </p:pic>
      <p:pic>
        <p:nvPicPr>
          <p:cNvPr id="13" name="Picture 12">
            <a:extLst>
              <a:ext uri="{FF2B5EF4-FFF2-40B4-BE49-F238E27FC236}">
                <a16:creationId xmlns:a16="http://schemas.microsoft.com/office/drawing/2014/main" id="{F6F784D1-285E-D21C-DCCB-295B0C9DDB37}"/>
              </a:ext>
            </a:extLst>
          </p:cNvPr>
          <p:cNvPicPr>
            <a:picLocks noChangeAspect="1"/>
          </p:cNvPicPr>
          <p:nvPr/>
        </p:nvPicPr>
        <p:blipFill>
          <a:blip r:embed="rId8"/>
          <a:stretch>
            <a:fillRect/>
          </a:stretch>
        </p:blipFill>
        <p:spPr>
          <a:xfrm>
            <a:off x="8790579" y="2427782"/>
            <a:ext cx="2413129" cy="2002436"/>
          </a:xfrm>
          <a:prstGeom prst="rect">
            <a:avLst/>
          </a:prstGeom>
        </p:spPr>
      </p:pic>
      <p:pic>
        <p:nvPicPr>
          <p:cNvPr id="15" name="Picture 14">
            <a:extLst>
              <a:ext uri="{FF2B5EF4-FFF2-40B4-BE49-F238E27FC236}">
                <a16:creationId xmlns:a16="http://schemas.microsoft.com/office/drawing/2014/main" id="{0AC5C287-102B-1FC8-2606-0041DF5C2652}"/>
              </a:ext>
            </a:extLst>
          </p:cNvPr>
          <p:cNvPicPr>
            <a:picLocks noChangeAspect="1"/>
          </p:cNvPicPr>
          <p:nvPr/>
        </p:nvPicPr>
        <p:blipFill>
          <a:blip r:embed="rId9"/>
          <a:stretch>
            <a:fillRect/>
          </a:stretch>
        </p:blipFill>
        <p:spPr>
          <a:xfrm>
            <a:off x="160619" y="2195802"/>
            <a:ext cx="6578751" cy="3799383"/>
          </a:xfrm>
          <a:prstGeom prst="rect">
            <a:avLst/>
          </a:prstGeom>
          <a:ln>
            <a:solidFill>
              <a:srgbClr val="0F2047"/>
            </a:solidFill>
          </a:ln>
        </p:spPr>
      </p:pic>
      <p:pic>
        <p:nvPicPr>
          <p:cNvPr id="17" name="Picture 16">
            <a:extLst>
              <a:ext uri="{FF2B5EF4-FFF2-40B4-BE49-F238E27FC236}">
                <a16:creationId xmlns:a16="http://schemas.microsoft.com/office/drawing/2014/main" id="{0B62D019-30F9-445B-8E55-68CA321DCDEA}"/>
              </a:ext>
            </a:extLst>
          </p:cNvPr>
          <p:cNvPicPr>
            <a:picLocks noChangeAspect="1"/>
          </p:cNvPicPr>
          <p:nvPr/>
        </p:nvPicPr>
        <p:blipFill>
          <a:blip r:embed="rId10"/>
          <a:stretch>
            <a:fillRect/>
          </a:stretch>
        </p:blipFill>
        <p:spPr>
          <a:xfrm>
            <a:off x="6980424" y="4629150"/>
            <a:ext cx="4268599" cy="1607388"/>
          </a:xfrm>
          <a:prstGeom prst="rect">
            <a:avLst/>
          </a:prstGeom>
        </p:spPr>
      </p:pic>
    </p:spTree>
    <p:extLst>
      <p:ext uri="{BB962C8B-B14F-4D97-AF65-F5344CB8AC3E}">
        <p14:creationId xmlns:p14="http://schemas.microsoft.com/office/powerpoint/2010/main" val="4270411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D5322-942D-4517-8626-1CC969913404}"/>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ABOUT ME</a:t>
            </a:r>
            <a:endParaRPr lang="da-DK"/>
          </a:p>
        </p:txBody>
      </p:sp>
      <p:sp>
        <p:nvSpPr>
          <p:cNvPr id="5" name="Text Placeholder 2">
            <a:extLst>
              <a:ext uri="{FF2B5EF4-FFF2-40B4-BE49-F238E27FC236}">
                <a16:creationId xmlns:a16="http://schemas.microsoft.com/office/drawing/2014/main" id="{070CAD64-81D8-4938-88C5-B2634BA528A7}"/>
              </a:ext>
            </a:extLst>
          </p:cNvPr>
          <p:cNvSpPr>
            <a:spLocks noGrp="1"/>
          </p:cNvSpPr>
          <p:nvPr>
            <p:ph type="body" sz="quarter" idx="16"/>
          </p:nvPr>
        </p:nvSpPr>
        <p:spPr>
          <a:xfrm>
            <a:off x="719667" y="1410898"/>
            <a:ext cx="5103284" cy="4833668"/>
          </a:xfrm>
        </p:spPr>
        <p:txBody>
          <a:bodyPr>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indent="0">
              <a:buNone/>
            </a:pPr>
            <a:r>
              <a:rPr lang="en-US" sz="2400" b="1" dirty="0">
                <a:ea typeface="+mn-lt"/>
                <a:cs typeface="+mn-lt"/>
              </a:rPr>
              <a:t>Nguyễn Lê Nhật Trường</a:t>
            </a:r>
          </a:p>
          <a:p>
            <a:r>
              <a:rPr lang="en-US" dirty="0" err="1">
                <a:ea typeface="+mn-lt"/>
                <a:cs typeface="+mn-lt"/>
              </a:rPr>
              <a:t>B.Sc</a:t>
            </a:r>
            <a:r>
              <a:rPr lang="en-US" dirty="0">
                <a:ea typeface="+mn-lt"/>
                <a:cs typeface="+mn-lt"/>
              </a:rPr>
              <a:t> in Software Engineering by FPT University, graduated in 2019</a:t>
            </a:r>
          </a:p>
          <a:p>
            <a:r>
              <a:rPr lang="en-US" dirty="0">
                <a:ea typeface="+mn-lt"/>
                <a:cs typeface="+mn-lt"/>
              </a:rPr>
              <a:t>Full-stack </a:t>
            </a:r>
            <a:r>
              <a:rPr lang="en-US" dirty="0" err="1">
                <a:ea typeface="+mn-lt"/>
                <a:cs typeface="+mn-lt"/>
              </a:rPr>
              <a:t>.Net</a:t>
            </a:r>
            <a:r>
              <a:rPr lang="en-US" dirty="0">
                <a:ea typeface="+mn-lt"/>
                <a:cs typeface="+mn-lt"/>
              </a:rPr>
              <a:t> Developer with 9 years of experience</a:t>
            </a:r>
          </a:p>
          <a:p>
            <a:r>
              <a:rPr lang="en-US" dirty="0">
                <a:ea typeface="+mn-lt"/>
                <a:cs typeface="+mn-lt"/>
              </a:rPr>
              <a:t>Mentor for Laboratory courses in FPT University.</a:t>
            </a:r>
          </a:p>
          <a:p>
            <a:r>
              <a:rPr lang="en-US" dirty="0">
                <a:ea typeface="+mn-lt"/>
                <a:cs typeface="+mn-lt"/>
              </a:rPr>
              <a:t>I started in Netcompany in November 2020 as a consultant:</a:t>
            </a:r>
          </a:p>
          <a:p>
            <a:pPr lvl="1" indent="-179489"/>
            <a:r>
              <a:rPr lang="en-US" dirty="0">
                <a:ea typeface="+mn-lt"/>
                <a:cs typeface="+mn-lt"/>
              </a:rPr>
              <a:t>Developer and technical leader for a UK project.</a:t>
            </a:r>
          </a:p>
          <a:p>
            <a:r>
              <a:rPr lang="en-US" dirty="0">
                <a:ea typeface="+mn-lt"/>
                <a:cs typeface="+mn-lt"/>
              </a:rPr>
              <a:t>Today, I’m a senior architect for Netcompany Vietnam.</a:t>
            </a:r>
          </a:p>
        </p:txBody>
      </p:sp>
      <p:pic>
        <p:nvPicPr>
          <p:cNvPr id="6" name="Picture 5">
            <a:extLst>
              <a:ext uri="{FF2B5EF4-FFF2-40B4-BE49-F238E27FC236}">
                <a16:creationId xmlns:a16="http://schemas.microsoft.com/office/drawing/2014/main" id="{63EA70DA-242A-40DE-9059-B84AD43237DB}"/>
              </a:ext>
            </a:extLst>
          </p:cNvPr>
          <p:cNvPicPr>
            <a:picLocks noChangeAspect="1"/>
          </p:cNvPicPr>
          <p:nvPr/>
        </p:nvPicPr>
        <p:blipFill rotWithShape="1">
          <a:blip r:embed="rId3">
            <a:extLst>
              <a:ext uri="{28A0092B-C50C-407E-A947-70E740481C1C}">
                <a14:useLocalDpi xmlns:a14="http://schemas.microsoft.com/office/drawing/2010/main" val="0"/>
              </a:ext>
            </a:extLst>
          </a:blip>
          <a:srcRect l="16765" t="2193" r="15559" b="589"/>
          <a:stretch/>
        </p:blipFill>
        <p:spPr>
          <a:xfrm>
            <a:off x="6940438" y="978568"/>
            <a:ext cx="4353203" cy="4466799"/>
          </a:xfrm>
          <a:prstGeom prst="rect">
            <a:avLst/>
          </a:prstGeom>
        </p:spPr>
      </p:pic>
    </p:spTree>
    <p:extLst>
      <p:ext uri="{BB962C8B-B14F-4D97-AF65-F5344CB8AC3E}">
        <p14:creationId xmlns:p14="http://schemas.microsoft.com/office/powerpoint/2010/main" val="3075972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first version</a:t>
            </a:r>
            <a:endParaRPr lang="vi-VN" sz="2000" b="1" err="1"/>
          </a:p>
        </p:txBody>
      </p:sp>
      <p:graphicFrame>
        <p:nvGraphicFramePr>
          <p:cNvPr id="2" name="Diagram 1">
            <a:extLst>
              <a:ext uri="{FF2B5EF4-FFF2-40B4-BE49-F238E27FC236}">
                <a16:creationId xmlns:a16="http://schemas.microsoft.com/office/drawing/2014/main" id="{EDD1CCB5-17AE-804B-BEC6-EF57C238A573}"/>
              </a:ext>
            </a:extLst>
          </p:cNvPr>
          <p:cNvGraphicFramePr/>
          <p:nvPr>
            <p:extLst>
              <p:ext uri="{D42A27DB-BD31-4B8C-83A1-F6EECF244321}">
                <p14:modId xmlns:p14="http://schemas.microsoft.com/office/powerpoint/2010/main" val="3336564879"/>
              </p:ext>
            </p:extLst>
          </p:nvPr>
        </p:nvGraphicFramePr>
        <p:xfrm>
          <a:off x="1574799" y="22305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angle 8">
            <a:extLst>
              <a:ext uri="{FF2B5EF4-FFF2-40B4-BE49-F238E27FC236}">
                <a16:creationId xmlns:a16="http://schemas.microsoft.com/office/drawing/2014/main" id="{0A3AE4CF-A11A-C08E-140C-DA8705DF5D05}"/>
              </a:ext>
            </a:extLst>
          </p:cNvPr>
          <p:cNvSpPr/>
          <p:nvPr/>
        </p:nvSpPr>
        <p:spPr>
          <a:xfrm>
            <a:off x="1219199" y="1902517"/>
            <a:ext cx="10144125" cy="4183958"/>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11" name="Picture 10">
            <a:extLst>
              <a:ext uri="{FF2B5EF4-FFF2-40B4-BE49-F238E27FC236}">
                <a16:creationId xmlns:a16="http://schemas.microsoft.com/office/drawing/2014/main" id="{F531948D-259D-08BB-198F-99866EEA2E25}"/>
              </a:ext>
            </a:extLst>
          </p:cNvPr>
          <p:cNvPicPr>
            <a:picLocks noChangeAspect="1"/>
          </p:cNvPicPr>
          <p:nvPr/>
        </p:nvPicPr>
        <p:blipFill>
          <a:blip r:embed="rId7"/>
          <a:stretch>
            <a:fillRect/>
          </a:stretch>
        </p:blipFill>
        <p:spPr>
          <a:xfrm>
            <a:off x="8742006" y="74065"/>
            <a:ext cx="2461702" cy="2149066"/>
          </a:xfrm>
          <a:prstGeom prst="rect">
            <a:avLst/>
          </a:prstGeom>
        </p:spPr>
      </p:pic>
      <p:pic>
        <p:nvPicPr>
          <p:cNvPr id="13" name="Picture 12">
            <a:extLst>
              <a:ext uri="{FF2B5EF4-FFF2-40B4-BE49-F238E27FC236}">
                <a16:creationId xmlns:a16="http://schemas.microsoft.com/office/drawing/2014/main" id="{F6F784D1-285E-D21C-DCCB-295B0C9DDB37}"/>
              </a:ext>
            </a:extLst>
          </p:cNvPr>
          <p:cNvPicPr>
            <a:picLocks noChangeAspect="1"/>
          </p:cNvPicPr>
          <p:nvPr/>
        </p:nvPicPr>
        <p:blipFill>
          <a:blip r:embed="rId8"/>
          <a:stretch>
            <a:fillRect/>
          </a:stretch>
        </p:blipFill>
        <p:spPr>
          <a:xfrm>
            <a:off x="8790579" y="2427782"/>
            <a:ext cx="2413129" cy="2002436"/>
          </a:xfrm>
          <a:prstGeom prst="rect">
            <a:avLst/>
          </a:prstGeom>
        </p:spPr>
      </p:pic>
      <p:pic>
        <p:nvPicPr>
          <p:cNvPr id="15" name="Picture 14">
            <a:extLst>
              <a:ext uri="{FF2B5EF4-FFF2-40B4-BE49-F238E27FC236}">
                <a16:creationId xmlns:a16="http://schemas.microsoft.com/office/drawing/2014/main" id="{0AC5C287-102B-1FC8-2606-0041DF5C2652}"/>
              </a:ext>
            </a:extLst>
          </p:cNvPr>
          <p:cNvPicPr>
            <a:picLocks noChangeAspect="1"/>
          </p:cNvPicPr>
          <p:nvPr/>
        </p:nvPicPr>
        <p:blipFill>
          <a:blip r:embed="rId9"/>
          <a:stretch>
            <a:fillRect/>
          </a:stretch>
        </p:blipFill>
        <p:spPr>
          <a:xfrm>
            <a:off x="8416238" y="4603862"/>
            <a:ext cx="2787470" cy="1609829"/>
          </a:xfrm>
          <a:prstGeom prst="rect">
            <a:avLst/>
          </a:prstGeom>
        </p:spPr>
      </p:pic>
      <p:pic>
        <p:nvPicPr>
          <p:cNvPr id="17" name="Picture 16">
            <a:extLst>
              <a:ext uri="{FF2B5EF4-FFF2-40B4-BE49-F238E27FC236}">
                <a16:creationId xmlns:a16="http://schemas.microsoft.com/office/drawing/2014/main" id="{0B62D019-30F9-445B-8E55-68CA321DCDEA}"/>
              </a:ext>
            </a:extLst>
          </p:cNvPr>
          <p:cNvPicPr>
            <a:picLocks noChangeAspect="1"/>
          </p:cNvPicPr>
          <p:nvPr/>
        </p:nvPicPr>
        <p:blipFill>
          <a:blip r:embed="rId10"/>
          <a:stretch>
            <a:fillRect/>
          </a:stretch>
        </p:blipFill>
        <p:spPr>
          <a:xfrm>
            <a:off x="114921" y="1906024"/>
            <a:ext cx="8088867" cy="3045952"/>
          </a:xfrm>
          <a:prstGeom prst="rect">
            <a:avLst/>
          </a:prstGeom>
          <a:ln>
            <a:solidFill>
              <a:srgbClr val="0F2047"/>
            </a:solidFill>
          </a:ln>
        </p:spPr>
      </p:pic>
    </p:spTree>
    <p:extLst>
      <p:ext uri="{BB962C8B-B14F-4D97-AF65-F5344CB8AC3E}">
        <p14:creationId xmlns:p14="http://schemas.microsoft.com/office/powerpoint/2010/main" val="4008750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planned second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extLst>
              <p:ext uri="{D42A27DB-BD31-4B8C-83A1-F6EECF244321}">
                <p14:modId xmlns:p14="http://schemas.microsoft.com/office/powerpoint/2010/main" val="377887900"/>
              </p:ext>
            </p:extLst>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61940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planned second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extLst>
              <p:ext uri="{D42A27DB-BD31-4B8C-83A1-F6EECF244321}">
                <p14:modId xmlns:p14="http://schemas.microsoft.com/office/powerpoint/2010/main" val="393703281"/>
              </p:ext>
            </p:extLst>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3086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planned second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6590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a:xfrm>
            <a:off x="711533" y="613433"/>
            <a:ext cx="10742927" cy="45240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4" name="TextBox 3">
            <a:extLst>
              <a:ext uri="{FF2B5EF4-FFF2-40B4-BE49-F238E27FC236}">
                <a16:creationId xmlns:a16="http://schemas.microsoft.com/office/drawing/2014/main" id="{50B981C0-E8A1-33EA-413E-2EBD8C8E39E9}"/>
              </a:ext>
            </a:extLst>
          </p:cNvPr>
          <p:cNvSpPr txBox="1"/>
          <p:nvPr/>
        </p:nvSpPr>
        <p:spPr>
          <a:xfrm>
            <a:off x="711533" y="1450109"/>
            <a:ext cx="3075376" cy="452408"/>
          </a:xfrm>
          <a:prstGeom prst="rect">
            <a:avLst/>
          </a:prstGeom>
          <a:noFill/>
        </p:spPr>
        <p:txBody>
          <a:bodyPr wrap="none" lIns="0" tIns="0" rIns="0" bIns="0" rtlCol="0">
            <a:noAutofit/>
          </a:bodyPr>
          <a:lstStyle/>
          <a:p>
            <a:pPr algn="l"/>
            <a:r>
              <a:rPr lang="en-US" sz="2000" b="1"/>
              <a:t>The planned second version</a:t>
            </a:r>
            <a:endParaRPr lang="vi-VN" sz="2000" b="1" err="1"/>
          </a:p>
        </p:txBody>
      </p:sp>
      <p:graphicFrame>
        <p:nvGraphicFramePr>
          <p:cNvPr id="6" name="Diagram 5">
            <a:extLst>
              <a:ext uri="{FF2B5EF4-FFF2-40B4-BE49-F238E27FC236}">
                <a16:creationId xmlns:a16="http://schemas.microsoft.com/office/drawing/2014/main" id="{BF9BC58E-0AAB-5ED4-18DF-6502DCE588C4}"/>
              </a:ext>
            </a:extLst>
          </p:cNvPr>
          <p:cNvGraphicFramePr/>
          <p:nvPr/>
        </p:nvGraphicFramePr>
        <p:xfrm>
          <a:off x="1422399" y="2078181"/>
          <a:ext cx="9781309" cy="3917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407092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normAutofit/>
          </a:bodyPr>
          <a:lstStyle/>
          <a:p>
            <a:pPr marL="0" indent="0">
              <a:lnSpc>
                <a:spcPct val="150000"/>
              </a:lnSpc>
              <a:buNone/>
            </a:pPr>
            <a:r>
              <a:rPr lang="en-US" sz="2000" b="1"/>
              <a:t>The context:</a:t>
            </a:r>
          </a:p>
          <a:p>
            <a:pPr indent="401638">
              <a:lnSpc>
                <a:spcPct val="150000"/>
              </a:lnSpc>
            </a:pPr>
            <a:r>
              <a:rPr lang="en-US" sz="2800"/>
              <a:t>Each role could have a very different view for a same data model</a:t>
            </a:r>
          </a:p>
          <a:p>
            <a:pPr indent="401638">
              <a:lnSpc>
                <a:spcPct val="150000"/>
              </a:lnSpc>
            </a:pPr>
            <a:r>
              <a:rPr lang="en-US" sz="2800"/>
              <a:t>Different views could have some interactions in common</a:t>
            </a:r>
          </a:p>
          <a:p>
            <a:pPr marL="628650" indent="-457200">
              <a:lnSpc>
                <a:spcPct val="150000"/>
              </a:lnSpc>
              <a:buFont typeface="Wingdings" panose="05000000000000000000" pitchFamily="2" charset="2"/>
              <a:buChar char="è"/>
            </a:pPr>
            <a:r>
              <a:rPr lang="en-US" sz="2800">
                <a:sym typeface="Wingdings" panose="05000000000000000000" pitchFamily="2" charset="2"/>
              </a:rPr>
              <a:t>The specification of each view class could cause the fragmentation of the logic codes</a:t>
            </a:r>
          </a:p>
          <a:p>
            <a:pPr marL="628650" indent="-457200">
              <a:lnSpc>
                <a:spcPct val="150000"/>
              </a:lnSpc>
            </a:pPr>
            <a:r>
              <a:rPr lang="en-US" sz="2800"/>
              <a:t>Coupling between UI render codes and logic codes</a:t>
            </a:r>
          </a:p>
          <a:p>
            <a:pPr indent="0">
              <a:lnSpc>
                <a:spcPct val="150000"/>
              </a:lnSpc>
              <a:buNone/>
            </a:pPr>
            <a:endParaRPr lang="vi-VN" sz="2800"/>
          </a:p>
        </p:txBody>
      </p:sp>
    </p:spTree>
    <p:extLst>
      <p:ext uri="{BB962C8B-B14F-4D97-AF65-F5344CB8AC3E}">
        <p14:creationId xmlns:p14="http://schemas.microsoft.com/office/powerpoint/2010/main" val="30805975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11" name="Picture 10">
            <a:extLst>
              <a:ext uri="{FF2B5EF4-FFF2-40B4-BE49-F238E27FC236}">
                <a16:creationId xmlns:a16="http://schemas.microsoft.com/office/drawing/2014/main" id="{47D2079D-88F2-1529-78C3-AD59F7BCD5D1}"/>
              </a:ext>
            </a:extLst>
          </p:cNvPr>
          <p:cNvPicPr>
            <a:picLocks noChangeAspect="1"/>
          </p:cNvPicPr>
          <p:nvPr/>
        </p:nvPicPr>
        <p:blipFill rotWithShape="1">
          <a:blip r:embed="rId2"/>
          <a:srcRect b="30371"/>
          <a:stretch/>
        </p:blipFill>
        <p:spPr>
          <a:xfrm>
            <a:off x="2272250" y="1209963"/>
            <a:ext cx="7647500" cy="5108512"/>
          </a:xfrm>
          <a:prstGeom prst="rect">
            <a:avLst/>
          </a:prstGeom>
        </p:spPr>
      </p:pic>
    </p:spTree>
    <p:extLst>
      <p:ext uri="{BB962C8B-B14F-4D97-AF65-F5344CB8AC3E}">
        <p14:creationId xmlns:p14="http://schemas.microsoft.com/office/powerpoint/2010/main" val="2633766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11" name="Picture 10">
            <a:extLst>
              <a:ext uri="{FF2B5EF4-FFF2-40B4-BE49-F238E27FC236}">
                <a16:creationId xmlns:a16="http://schemas.microsoft.com/office/drawing/2014/main" id="{47D2079D-88F2-1529-78C3-AD59F7BCD5D1}"/>
              </a:ext>
            </a:extLst>
          </p:cNvPr>
          <p:cNvPicPr>
            <a:picLocks noChangeAspect="1"/>
          </p:cNvPicPr>
          <p:nvPr/>
        </p:nvPicPr>
        <p:blipFill rotWithShape="1">
          <a:blip r:embed="rId2"/>
          <a:srcRect l="53" t="28435" r="-53" b="157"/>
          <a:stretch/>
        </p:blipFill>
        <p:spPr>
          <a:xfrm>
            <a:off x="2272249" y="1073512"/>
            <a:ext cx="7991973" cy="5475070"/>
          </a:xfrm>
          <a:prstGeom prst="rect">
            <a:avLst/>
          </a:prstGeom>
        </p:spPr>
      </p:pic>
    </p:spTree>
    <p:extLst>
      <p:ext uri="{BB962C8B-B14F-4D97-AF65-F5344CB8AC3E}">
        <p14:creationId xmlns:p14="http://schemas.microsoft.com/office/powerpoint/2010/main" val="988115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F3FAE567-282B-0A57-9F96-F224FF840FD7}"/>
              </a:ext>
            </a:extLst>
          </p:cNvPr>
          <p:cNvSpPr>
            <a:spLocks noGrp="1"/>
          </p:cNvSpPr>
          <p:nvPr>
            <p:ph type="body" sz="quarter" idx="12"/>
          </p:nvPr>
        </p:nvSpPr>
        <p:spPr>
          <a:xfrm>
            <a:off x="711200" y="1403350"/>
            <a:ext cx="10761663" cy="4762500"/>
          </a:xfrm>
        </p:spPr>
        <p:txBody>
          <a:bodyPr/>
          <a:lstStyle/>
          <a:p>
            <a:pPr marL="0" indent="0">
              <a:buNone/>
            </a:pPr>
            <a:r>
              <a:rPr lang="en-US" sz="2000" b="1"/>
              <a:t>The context:</a:t>
            </a:r>
          </a:p>
          <a:p>
            <a:pPr indent="401638"/>
            <a:r>
              <a:rPr lang="en-US" sz="2800"/>
              <a:t>Each role could have a very different view for a same data model</a:t>
            </a:r>
          </a:p>
          <a:p>
            <a:pPr indent="401638"/>
            <a:r>
              <a:rPr lang="en-US" sz="2800"/>
              <a:t>Different views could have some interactions in common</a:t>
            </a:r>
          </a:p>
          <a:p>
            <a:pPr marL="628650" indent="-457200">
              <a:buFont typeface="Wingdings" panose="05000000000000000000" pitchFamily="2" charset="2"/>
              <a:buChar char="è"/>
            </a:pPr>
            <a:r>
              <a:rPr lang="en-US" sz="2800">
                <a:sym typeface="Wingdings" panose="05000000000000000000" pitchFamily="2" charset="2"/>
              </a:rPr>
              <a:t>The specification of each view class could cause the fragmentation of the logic codes</a:t>
            </a:r>
          </a:p>
          <a:p>
            <a:pPr marL="628650" indent="-457200"/>
            <a:r>
              <a:rPr lang="en-US" sz="2800"/>
              <a:t>Coupling between UI render codes and logic codes</a:t>
            </a:r>
          </a:p>
          <a:p>
            <a:pPr indent="0">
              <a:buNone/>
            </a:pPr>
            <a:r>
              <a:rPr lang="en-US" sz="2800">
                <a:sym typeface="Wingdings" panose="05000000000000000000" pitchFamily="2" charset="2"/>
              </a:rPr>
              <a:t> Hard to sperate a task for </a:t>
            </a:r>
            <a:r>
              <a:rPr kumimoji="0" lang="en-US" sz="2800" b="0" i="0" u="none" strike="noStrike" kern="0" cap="none" spc="0" normalizeH="0" baseline="0" noProof="0">
                <a:ln>
                  <a:noFill/>
                </a:ln>
                <a:solidFill>
                  <a:schemeClr val="tx1"/>
                </a:solidFill>
                <a:effectLst/>
                <a:uLnTx/>
                <a:uFillTx/>
                <a:ea typeface="+mn-ea"/>
                <a:cs typeface="Arial" pitchFamily="34"/>
              </a:rPr>
              <a:t>UI design and business logic teams</a:t>
            </a:r>
            <a:endParaRPr lang="en-US" sz="2800">
              <a:sym typeface="Wingdings" panose="05000000000000000000" pitchFamily="2" charset="2"/>
            </a:endParaRPr>
          </a:p>
          <a:p>
            <a:pPr indent="0">
              <a:buNone/>
            </a:pPr>
            <a:endParaRPr lang="en-US" sz="2800"/>
          </a:p>
          <a:p>
            <a:pPr indent="0">
              <a:buNone/>
            </a:pPr>
            <a:endParaRPr lang="vi-VN" sz="2800"/>
          </a:p>
        </p:txBody>
      </p:sp>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6" name="TextBox 5">
            <a:extLst>
              <a:ext uri="{FF2B5EF4-FFF2-40B4-BE49-F238E27FC236}">
                <a16:creationId xmlns:a16="http://schemas.microsoft.com/office/drawing/2014/main" id="{27D871B0-F563-8A61-343A-D0E04AA3560A}"/>
              </a:ext>
            </a:extLst>
          </p:cNvPr>
          <p:cNvSpPr txBox="1"/>
          <p:nvPr/>
        </p:nvSpPr>
        <p:spPr>
          <a:xfrm>
            <a:off x="2484580" y="5528540"/>
            <a:ext cx="7850909" cy="637310"/>
          </a:xfrm>
          <a:prstGeom prst="rect">
            <a:avLst/>
          </a:prstGeom>
          <a:noFill/>
        </p:spPr>
        <p:txBody>
          <a:bodyPr wrap="none" lIns="0" tIns="0" rIns="0" bIns="0" rtlCol="0">
            <a:noAutofit/>
          </a:bodyPr>
          <a:lstStyle/>
          <a:p>
            <a:pPr algn="l"/>
            <a:r>
              <a:rPr lang="en-US" sz="3200" b="1"/>
              <a:t>Any tactical design to adapt this case study</a:t>
            </a:r>
            <a:endParaRPr lang="vi-VN" sz="3200" b="1" err="1"/>
          </a:p>
        </p:txBody>
      </p:sp>
      <p:pic>
        <p:nvPicPr>
          <p:cNvPr id="7" name="Graphic 6" descr="Question mark with solid fill">
            <a:extLst>
              <a:ext uri="{FF2B5EF4-FFF2-40B4-BE49-F238E27FC236}">
                <a16:creationId xmlns:a16="http://schemas.microsoft.com/office/drawing/2014/main" id="{E0996F28-595A-E0D4-A4CC-C167A1F509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45489" y="5327649"/>
            <a:ext cx="1039091" cy="1039091"/>
          </a:xfrm>
          <a:prstGeom prst="rect">
            <a:avLst/>
          </a:prstGeom>
        </p:spPr>
      </p:pic>
    </p:spTree>
    <p:extLst>
      <p:ext uri="{BB962C8B-B14F-4D97-AF65-F5344CB8AC3E}">
        <p14:creationId xmlns:p14="http://schemas.microsoft.com/office/powerpoint/2010/main" val="2632099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9" name="Picture 8" descr="A picture containing text, graphic design, graphics, clipart&#10;&#10;Description automatically generated">
            <a:extLst>
              <a:ext uri="{FF2B5EF4-FFF2-40B4-BE49-F238E27FC236}">
                <a16:creationId xmlns:a16="http://schemas.microsoft.com/office/drawing/2014/main" id="{E44D7A31-E26B-478B-CAFF-AD73604B52E0}"/>
              </a:ext>
            </a:extLst>
          </p:cNvPr>
          <p:cNvPicPr>
            <a:picLocks noChangeAspect="1"/>
          </p:cNvPicPr>
          <p:nvPr/>
        </p:nvPicPr>
        <p:blipFill rotWithShape="1">
          <a:blip r:embed="rId2">
            <a:extLst>
              <a:ext uri="{28A0092B-C50C-407E-A947-70E740481C1C}">
                <a14:useLocalDpi xmlns:a14="http://schemas.microsoft.com/office/drawing/2010/main" val="0"/>
              </a:ext>
            </a:extLst>
          </a:blip>
          <a:srcRect l="9353" t="10894" r="11261" b="8484"/>
          <a:stretch/>
        </p:blipFill>
        <p:spPr>
          <a:xfrm>
            <a:off x="1835042" y="1458797"/>
            <a:ext cx="8521916" cy="4668625"/>
          </a:xfrm>
          <a:prstGeom prst="rect">
            <a:avLst/>
          </a:prstGeom>
        </p:spPr>
      </p:pic>
    </p:spTree>
    <p:extLst>
      <p:ext uri="{BB962C8B-B14F-4D97-AF65-F5344CB8AC3E}">
        <p14:creationId xmlns:p14="http://schemas.microsoft.com/office/powerpoint/2010/main" val="1343748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838BC-5549-CCE3-1FB1-1D0815D636B5}"/>
              </a:ext>
            </a:extLst>
          </p:cNvPr>
          <p:cNvSpPr>
            <a:spLocks noGrp="1"/>
          </p:cNvSpPr>
          <p:nvPr>
            <p:ph type="title"/>
          </p:nvPr>
        </p:nvSpPr>
        <p:spPr/>
        <p:txBody>
          <a:bodyPr/>
          <a:lstStyle/>
          <a:p>
            <a:r>
              <a:rPr lang="en-US">
                <a:cs typeface="Calibri"/>
              </a:rPr>
              <a:t>About me</a:t>
            </a:r>
            <a:endParaRPr lang="en-US"/>
          </a:p>
        </p:txBody>
      </p:sp>
      <p:sp>
        <p:nvSpPr>
          <p:cNvPr id="3" name="Text Placeholder 2">
            <a:extLst>
              <a:ext uri="{FF2B5EF4-FFF2-40B4-BE49-F238E27FC236}">
                <a16:creationId xmlns:a16="http://schemas.microsoft.com/office/drawing/2014/main" id="{483EB76D-DCD7-8849-23CF-9EC6A15958B8}"/>
              </a:ext>
            </a:extLst>
          </p:cNvPr>
          <p:cNvSpPr>
            <a:spLocks noGrp="1"/>
          </p:cNvSpPr>
          <p:nvPr>
            <p:ph type="body" sz="quarter" idx="16"/>
          </p:nvPr>
        </p:nvSpPr>
        <p:spPr/>
        <p:txBody>
          <a:bodyPr vert="horz" lIns="0" tIns="0" rIns="0" bIns="0" rtlCol="0" anchor="t" anchorCtr="0">
            <a:normAutofit/>
          </a:bodyPr>
          <a:lstStyle/>
          <a:p>
            <a:pPr marL="0" indent="0" defTabSz="914377">
              <a:buNone/>
            </a:pPr>
            <a:r>
              <a:rPr lang="en-US" sz="2400" b="1" dirty="0">
                <a:ea typeface="+mn-lt"/>
                <a:cs typeface="+mn-lt"/>
              </a:rPr>
              <a:t>Dương Hiếu Nghĩa</a:t>
            </a:r>
            <a:endParaRPr lang="en-US" sz="2400" dirty="0">
              <a:ea typeface="+mn-lt"/>
              <a:cs typeface="+mn-lt"/>
            </a:endParaRPr>
          </a:p>
          <a:p>
            <a:pPr defTabSz="914377"/>
            <a:r>
              <a:rPr lang="en-US" sz="1800" dirty="0">
                <a:ea typeface="+mn-lt"/>
                <a:cs typeface="+mn-lt"/>
              </a:rPr>
              <a:t>Studied at University of Economics, HCMC</a:t>
            </a:r>
          </a:p>
          <a:p>
            <a:pPr defTabSz="914377"/>
            <a:r>
              <a:rPr lang="en-US" sz="1800" dirty="0">
                <a:ea typeface="+mn-lt"/>
                <a:cs typeface="+mn-lt"/>
              </a:rPr>
              <a:t>Discovered my interest in coding and decided to make the change.</a:t>
            </a:r>
          </a:p>
          <a:p>
            <a:pPr defTabSz="914377"/>
            <a:r>
              <a:rPr lang="en-US" sz="1800" dirty="0">
                <a:ea typeface="+mn-lt"/>
                <a:cs typeface="+mn-lt"/>
              </a:rPr>
              <a:t>6 years of experience working as </a:t>
            </a:r>
            <a:r>
              <a:rPr lang="en-US" sz="1800" dirty="0" err="1">
                <a:ea typeface="+mn-lt"/>
                <a:cs typeface="+mn-lt"/>
              </a:rPr>
              <a:t>Fullstack</a:t>
            </a:r>
            <a:r>
              <a:rPr lang="en-US" sz="1800" dirty="0">
                <a:ea typeface="+mn-lt"/>
                <a:cs typeface="+mn-lt"/>
              </a:rPr>
              <a:t> Developer. ReactJS, Angular, Golang, NodeJS, </a:t>
            </a:r>
            <a:r>
              <a:rPr lang="en-US" sz="1800" dirty="0" err="1">
                <a:ea typeface="+mn-lt"/>
                <a:cs typeface="+mn-lt"/>
              </a:rPr>
              <a:t>.Net</a:t>
            </a:r>
            <a:r>
              <a:rPr lang="en-US" sz="1800" dirty="0">
                <a:ea typeface="+mn-lt"/>
                <a:cs typeface="+mn-lt"/>
              </a:rPr>
              <a:t>, Java.</a:t>
            </a:r>
          </a:p>
          <a:p>
            <a:pPr defTabSz="914377"/>
            <a:r>
              <a:rPr lang="en-US" sz="1800" dirty="0">
                <a:ea typeface="+mn-lt"/>
                <a:cs typeface="+mn-lt"/>
              </a:rPr>
              <a:t>I started working for Netcompany Vietnam since October 2022 as Senior Consultant.</a:t>
            </a:r>
          </a:p>
          <a:p>
            <a:pPr defTabSz="914377"/>
            <a:endParaRPr lang="en-US" sz="1800" dirty="0">
              <a:ea typeface="+mn-lt"/>
              <a:cs typeface="+mn-lt"/>
            </a:endParaRPr>
          </a:p>
        </p:txBody>
      </p:sp>
      <p:pic>
        <p:nvPicPr>
          <p:cNvPr id="5" name="Picture 5">
            <a:extLst>
              <a:ext uri="{FF2B5EF4-FFF2-40B4-BE49-F238E27FC236}">
                <a16:creationId xmlns:a16="http://schemas.microsoft.com/office/drawing/2014/main" id="{A6E364D8-0950-E17E-EB4D-A2D6A5567925}"/>
              </a:ext>
            </a:extLst>
          </p:cNvPr>
          <p:cNvPicPr>
            <a:picLocks noChangeAspect="1"/>
          </p:cNvPicPr>
          <p:nvPr/>
        </p:nvPicPr>
        <p:blipFill>
          <a:blip r:embed="rId2"/>
          <a:stretch>
            <a:fillRect/>
          </a:stretch>
        </p:blipFill>
        <p:spPr>
          <a:xfrm>
            <a:off x="6864850" y="669961"/>
            <a:ext cx="4412750" cy="5509516"/>
          </a:xfrm>
          <a:prstGeom prst="rect">
            <a:avLst/>
          </a:prstGeom>
        </p:spPr>
      </p:pic>
    </p:spTree>
    <p:extLst>
      <p:ext uri="{BB962C8B-B14F-4D97-AF65-F5344CB8AC3E}">
        <p14:creationId xmlns:p14="http://schemas.microsoft.com/office/powerpoint/2010/main" val="18711609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sp>
        <p:nvSpPr>
          <p:cNvPr id="2" name="Rectangle 1">
            <a:extLst>
              <a:ext uri="{FF2B5EF4-FFF2-40B4-BE49-F238E27FC236}">
                <a16:creationId xmlns:a16="http://schemas.microsoft.com/office/drawing/2014/main" id="{37F583EE-5DA0-A065-BB86-57B81FFAF4CC}"/>
              </a:ext>
            </a:extLst>
          </p:cNvPr>
          <p:cNvSpPr/>
          <p:nvPr/>
        </p:nvSpPr>
        <p:spPr>
          <a:xfrm>
            <a:off x="1195387" y="2019300"/>
            <a:ext cx="9801225" cy="30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a:solidFill>
                  <a:srgbClr val="0F2047"/>
                </a:solidFill>
              </a:rPr>
              <a:t>Traditionally used for </a:t>
            </a:r>
            <a:r>
              <a:rPr lang="en-US" sz="3200" b="1">
                <a:solidFill>
                  <a:srgbClr val="0F2047"/>
                </a:solidFill>
              </a:rPr>
              <a:t>desktop graphical user interfaces </a:t>
            </a:r>
            <a:r>
              <a:rPr lang="en-US" sz="3200">
                <a:solidFill>
                  <a:srgbClr val="0F2047"/>
                </a:solidFill>
              </a:rPr>
              <a:t>(GUIs), this pattern became popular for </a:t>
            </a:r>
            <a:r>
              <a:rPr lang="en-US" sz="3200" b="1">
                <a:solidFill>
                  <a:srgbClr val="0F2047"/>
                </a:solidFill>
              </a:rPr>
              <a:t>designing web applications</a:t>
            </a:r>
            <a:r>
              <a:rPr lang="en-US" sz="3200">
                <a:solidFill>
                  <a:srgbClr val="0F2047"/>
                </a:solidFill>
              </a:rPr>
              <a:t>. Popular programming languages have MVC frameworks that facilitate the implementation of the pattern. </a:t>
            </a:r>
            <a:endParaRPr lang="vi-VN" sz="3200">
              <a:solidFill>
                <a:srgbClr val="0F2047"/>
              </a:solidFill>
            </a:endParaRPr>
          </a:p>
        </p:txBody>
      </p:sp>
    </p:spTree>
    <p:custDataLst>
      <p:tags r:id="rId1"/>
    </p:custDataLst>
    <p:extLst>
      <p:ext uri="{BB962C8B-B14F-4D97-AF65-F5344CB8AC3E}">
        <p14:creationId xmlns:p14="http://schemas.microsoft.com/office/powerpoint/2010/main" val="6784612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sp>
        <p:nvSpPr>
          <p:cNvPr id="5" name="TextBox 4">
            <a:extLst>
              <a:ext uri="{FF2B5EF4-FFF2-40B4-BE49-F238E27FC236}">
                <a16:creationId xmlns:a16="http://schemas.microsoft.com/office/drawing/2014/main" id="{9B5B979A-6177-6A5A-C2DE-FEA16EFEBC0F}"/>
              </a:ext>
            </a:extLst>
          </p:cNvPr>
          <p:cNvSpPr txBox="1"/>
          <p:nvPr/>
        </p:nvSpPr>
        <p:spPr>
          <a:xfrm>
            <a:off x="1482148" y="2199986"/>
            <a:ext cx="9262052" cy="2667289"/>
          </a:xfrm>
          <a:prstGeom prst="rect">
            <a:avLst/>
          </a:prstGeom>
          <a:noFill/>
        </p:spPr>
        <p:txBody>
          <a:bodyPr wrap="none" lIns="0" tIns="0" rIns="0" bIns="0" rtlCol="0">
            <a:noAutofit/>
          </a:bodyPr>
          <a:lstStyle/>
          <a:p>
            <a:pPr algn="l"/>
            <a:r>
              <a:rPr lang="en-US" sz="3200"/>
              <a:t>Model-View-Controller is the </a:t>
            </a:r>
            <a:r>
              <a:rPr lang="en-US" sz="3200" b="1" u="sng">
                <a:highlight>
                  <a:srgbClr val="FFFF00"/>
                </a:highlight>
              </a:rPr>
              <a:t>concept of encapsulating</a:t>
            </a:r>
          </a:p>
          <a:p>
            <a:pPr algn="l"/>
            <a:r>
              <a:rPr lang="en-US" sz="3200"/>
              <a:t>some data together with its processing (the </a:t>
            </a:r>
            <a:r>
              <a:rPr lang="en-US" sz="3200" b="1"/>
              <a:t>MODEL</a:t>
            </a:r>
            <a:r>
              <a:rPr lang="en-US" sz="3200"/>
              <a:t>)</a:t>
            </a:r>
          </a:p>
          <a:p>
            <a:pPr algn="l"/>
            <a:r>
              <a:rPr lang="en-US" sz="3200"/>
              <a:t>and isolate it from the manipulation (the </a:t>
            </a:r>
            <a:r>
              <a:rPr lang="en-US" sz="3200" b="1"/>
              <a:t>CONTROLLER</a:t>
            </a:r>
            <a:r>
              <a:rPr lang="en-US" sz="3200"/>
              <a:t>)</a:t>
            </a:r>
          </a:p>
          <a:p>
            <a:pPr algn="l"/>
            <a:r>
              <a:rPr lang="en-US" sz="3200"/>
              <a:t>and presentation (the </a:t>
            </a:r>
            <a:r>
              <a:rPr lang="en-US" sz="3200" b="1"/>
              <a:t>VIEW</a:t>
            </a:r>
            <a:r>
              <a:rPr lang="en-US" sz="3200"/>
              <a:t>) part that has to be done</a:t>
            </a:r>
          </a:p>
          <a:p>
            <a:pPr algn="l"/>
            <a:r>
              <a:rPr lang="en-US" sz="3200"/>
              <a:t>on a User Interface.</a:t>
            </a:r>
            <a:endParaRPr lang="vi-VN" sz="3200" b="1" err="1"/>
          </a:p>
        </p:txBody>
      </p:sp>
    </p:spTree>
    <p:custDataLst>
      <p:tags r:id="rId1"/>
    </p:custDataLst>
    <p:extLst>
      <p:ext uri="{BB962C8B-B14F-4D97-AF65-F5344CB8AC3E}">
        <p14:creationId xmlns:p14="http://schemas.microsoft.com/office/powerpoint/2010/main" val="33227989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sp>
        <p:nvSpPr>
          <p:cNvPr id="2" name="Rectangle 1">
            <a:extLst>
              <a:ext uri="{FF2B5EF4-FFF2-40B4-BE49-F238E27FC236}">
                <a16:creationId xmlns:a16="http://schemas.microsoft.com/office/drawing/2014/main" id="{37F583EE-5DA0-A065-BB86-57B81FFAF4CC}"/>
              </a:ext>
            </a:extLst>
          </p:cNvPr>
          <p:cNvSpPr/>
          <p:nvPr/>
        </p:nvSpPr>
        <p:spPr>
          <a:xfrm>
            <a:off x="1195387" y="1628775"/>
            <a:ext cx="9801225" cy="381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anose="020B0604020202020204" pitchFamily="34" charset="0"/>
              <a:buChar char="•"/>
            </a:pPr>
            <a:r>
              <a:rPr lang="en-US" sz="3200">
                <a:solidFill>
                  <a:srgbClr val="0F2047"/>
                </a:solidFill>
              </a:rPr>
              <a:t>A </a:t>
            </a:r>
            <a:r>
              <a:rPr lang="en-US" sz="3200" b="1">
                <a:solidFill>
                  <a:srgbClr val="0F2047"/>
                </a:solidFill>
              </a:rPr>
              <a:t>MODEL</a:t>
            </a:r>
            <a:r>
              <a:rPr lang="en-US" sz="3200">
                <a:solidFill>
                  <a:srgbClr val="0F2047"/>
                </a:solidFill>
              </a:rPr>
              <a:t> is an </a:t>
            </a:r>
            <a:r>
              <a:rPr lang="en-US" sz="3200" u="sng">
                <a:solidFill>
                  <a:srgbClr val="0F2047"/>
                </a:solidFill>
              </a:rPr>
              <a:t>object representing data</a:t>
            </a:r>
            <a:r>
              <a:rPr lang="en-US" sz="3200">
                <a:solidFill>
                  <a:srgbClr val="0F2047"/>
                </a:solidFill>
              </a:rPr>
              <a:t> or even activity, e.g. a database table or even some plant-floor production-machine process.</a:t>
            </a:r>
          </a:p>
          <a:p>
            <a:pPr marL="457200" indent="-457200">
              <a:buFont typeface="Arial" panose="020B0604020202020204" pitchFamily="34" charset="0"/>
              <a:buChar char="•"/>
            </a:pPr>
            <a:r>
              <a:rPr lang="en-US" sz="3200">
                <a:solidFill>
                  <a:srgbClr val="0F2047"/>
                </a:solidFill>
              </a:rPr>
              <a:t>A </a:t>
            </a:r>
            <a:r>
              <a:rPr lang="en-US" sz="3200" b="1">
                <a:solidFill>
                  <a:srgbClr val="0F2047"/>
                </a:solidFill>
              </a:rPr>
              <a:t>VIEW</a:t>
            </a:r>
            <a:r>
              <a:rPr lang="en-US" sz="3200">
                <a:solidFill>
                  <a:srgbClr val="0F2047"/>
                </a:solidFill>
              </a:rPr>
              <a:t> is some </a:t>
            </a:r>
            <a:r>
              <a:rPr lang="en-US" sz="3200" u="sng">
                <a:solidFill>
                  <a:srgbClr val="0F2047"/>
                </a:solidFill>
              </a:rPr>
              <a:t>form of visualization</a:t>
            </a:r>
            <a:r>
              <a:rPr lang="en-US" sz="3200">
                <a:solidFill>
                  <a:srgbClr val="0F2047"/>
                </a:solidFill>
              </a:rPr>
              <a:t> of the state of the model.</a:t>
            </a:r>
          </a:p>
          <a:p>
            <a:pPr marL="457200" indent="-457200">
              <a:buFont typeface="Arial" panose="020B0604020202020204" pitchFamily="34" charset="0"/>
              <a:buChar char="•"/>
            </a:pPr>
            <a:r>
              <a:rPr lang="en-US" sz="3200">
                <a:solidFill>
                  <a:srgbClr val="0F2047"/>
                </a:solidFill>
              </a:rPr>
              <a:t>A </a:t>
            </a:r>
            <a:r>
              <a:rPr lang="en-US" sz="3200" b="1">
                <a:solidFill>
                  <a:srgbClr val="0F2047"/>
                </a:solidFill>
              </a:rPr>
              <a:t>CONTROLLER</a:t>
            </a:r>
            <a:r>
              <a:rPr lang="en-US" sz="3200">
                <a:solidFill>
                  <a:srgbClr val="0F2047"/>
                </a:solidFill>
              </a:rPr>
              <a:t> offers </a:t>
            </a:r>
            <a:r>
              <a:rPr lang="en-US" sz="3200" u="sng">
                <a:solidFill>
                  <a:srgbClr val="0F2047"/>
                </a:solidFill>
              </a:rPr>
              <a:t>facilities to change the state</a:t>
            </a:r>
            <a:r>
              <a:rPr lang="en-US" sz="3200">
                <a:solidFill>
                  <a:srgbClr val="0F2047"/>
                </a:solidFill>
              </a:rPr>
              <a:t> of the model. </a:t>
            </a:r>
            <a:endParaRPr lang="vi-VN" sz="3200">
              <a:solidFill>
                <a:srgbClr val="0F2047"/>
              </a:solidFill>
            </a:endParaRPr>
          </a:p>
        </p:txBody>
      </p:sp>
    </p:spTree>
    <p:custDataLst>
      <p:tags r:id="rId1"/>
    </p:custDataLst>
    <p:extLst>
      <p:ext uri="{BB962C8B-B14F-4D97-AF65-F5344CB8AC3E}">
        <p14:creationId xmlns:p14="http://schemas.microsoft.com/office/powerpoint/2010/main" val="28297905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sp>
        <p:nvSpPr>
          <p:cNvPr id="5" name="TextBox 4">
            <a:extLst>
              <a:ext uri="{FF2B5EF4-FFF2-40B4-BE49-F238E27FC236}">
                <a16:creationId xmlns:a16="http://schemas.microsoft.com/office/drawing/2014/main" id="{9B5B979A-6177-6A5A-C2DE-FEA16EFEBC0F}"/>
              </a:ext>
            </a:extLst>
          </p:cNvPr>
          <p:cNvSpPr txBox="1"/>
          <p:nvPr/>
        </p:nvSpPr>
        <p:spPr>
          <a:xfrm>
            <a:off x="2253673" y="2447636"/>
            <a:ext cx="7850909" cy="1496987"/>
          </a:xfrm>
          <a:prstGeom prst="rect">
            <a:avLst/>
          </a:prstGeom>
          <a:noFill/>
        </p:spPr>
        <p:txBody>
          <a:bodyPr wrap="none" lIns="0" tIns="0" rIns="0" bIns="0" rtlCol="0">
            <a:noAutofit/>
          </a:bodyPr>
          <a:lstStyle/>
          <a:p>
            <a:pPr algn="l"/>
            <a:r>
              <a:rPr lang="en-US" sz="3200"/>
              <a:t>the </a:t>
            </a:r>
            <a:r>
              <a:rPr lang="en-US" sz="3200" b="1"/>
              <a:t>MODEL</a:t>
            </a:r>
            <a:r>
              <a:rPr lang="en-US" sz="3200"/>
              <a:t> is the data, the </a:t>
            </a:r>
            <a:r>
              <a:rPr lang="en-US" sz="3200" b="1"/>
              <a:t>VIEW</a:t>
            </a:r>
            <a:r>
              <a:rPr lang="en-US" sz="3200"/>
              <a:t> is the window</a:t>
            </a:r>
          </a:p>
          <a:p>
            <a:pPr algn="l"/>
            <a:r>
              <a:rPr lang="en-US" sz="3200"/>
              <a:t>on the screen, and the </a:t>
            </a:r>
            <a:r>
              <a:rPr lang="en-US" sz="3200" b="1"/>
              <a:t>CONTROLLER</a:t>
            </a:r>
            <a:r>
              <a:rPr lang="en-US" sz="3200"/>
              <a:t> is </a:t>
            </a:r>
          </a:p>
          <a:p>
            <a:pPr algn="l"/>
            <a:r>
              <a:rPr lang="en-US" sz="3200"/>
              <a:t>the glue between the two.</a:t>
            </a:r>
            <a:endParaRPr lang="vi-VN" sz="3200" b="1" err="1"/>
          </a:p>
        </p:txBody>
      </p:sp>
      <p:pic>
        <p:nvPicPr>
          <p:cNvPr id="9" name="Graphic 8" descr="Closed quotation mark with solid fill">
            <a:extLst>
              <a:ext uri="{FF2B5EF4-FFF2-40B4-BE49-F238E27FC236}">
                <a16:creationId xmlns:a16="http://schemas.microsoft.com/office/drawing/2014/main" id="{809448FD-6F78-875C-1C70-64BC5CA1DE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71600" y="1990436"/>
            <a:ext cx="914400" cy="914400"/>
          </a:xfrm>
          <a:prstGeom prst="rect">
            <a:avLst/>
          </a:prstGeom>
        </p:spPr>
      </p:pic>
      <p:sp>
        <p:nvSpPr>
          <p:cNvPr id="11" name="TextBox 10">
            <a:extLst>
              <a:ext uri="{FF2B5EF4-FFF2-40B4-BE49-F238E27FC236}">
                <a16:creationId xmlns:a16="http://schemas.microsoft.com/office/drawing/2014/main" id="{14EDFC6E-9679-B503-CADF-35ACC0740B12}"/>
              </a:ext>
            </a:extLst>
          </p:cNvPr>
          <p:cNvSpPr txBox="1"/>
          <p:nvPr/>
        </p:nvSpPr>
        <p:spPr>
          <a:xfrm>
            <a:off x="8174182" y="3759957"/>
            <a:ext cx="2115127" cy="369332"/>
          </a:xfrm>
          <a:prstGeom prst="rect">
            <a:avLst/>
          </a:prstGeom>
          <a:noFill/>
        </p:spPr>
        <p:txBody>
          <a:bodyPr wrap="square">
            <a:spAutoFit/>
          </a:bodyPr>
          <a:lstStyle/>
          <a:p>
            <a:r>
              <a:rPr lang="vi-VN" b="1" err="1">
                <a:hlinkClick r:id="rId6"/>
              </a:rPr>
              <a:t>Connelly</a:t>
            </a:r>
            <a:r>
              <a:rPr lang="vi-VN" b="1">
                <a:hlinkClick r:id="rId6"/>
              </a:rPr>
              <a:t> </a:t>
            </a:r>
            <a:r>
              <a:rPr lang="vi-VN" b="1" err="1">
                <a:hlinkClick r:id="rId6"/>
              </a:rPr>
              <a:t>Barnes</a:t>
            </a:r>
            <a:endParaRPr lang="vi-VN" b="1">
              <a:hlinkClick r:id="rId6"/>
            </a:endParaRPr>
          </a:p>
        </p:txBody>
      </p:sp>
    </p:spTree>
    <p:custDataLst>
      <p:tags r:id="rId1"/>
    </p:custDataLst>
    <p:extLst>
      <p:ext uri="{BB962C8B-B14F-4D97-AF65-F5344CB8AC3E}">
        <p14:creationId xmlns:p14="http://schemas.microsoft.com/office/powerpoint/2010/main" val="27594651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pic>
        <p:nvPicPr>
          <p:cNvPr id="6" name="Picture 5">
            <a:extLst>
              <a:ext uri="{FF2B5EF4-FFF2-40B4-BE49-F238E27FC236}">
                <a16:creationId xmlns:a16="http://schemas.microsoft.com/office/drawing/2014/main" id="{16A2FDF5-50B2-92A7-6FB1-E807D15E1240}"/>
              </a:ext>
            </a:extLst>
          </p:cNvPr>
          <p:cNvPicPr>
            <a:picLocks noChangeAspect="1"/>
          </p:cNvPicPr>
          <p:nvPr/>
        </p:nvPicPr>
        <p:blipFill>
          <a:blip r:embed="rId4"/>
          <a:stretch>
            <a:fillRect/>
          </a:stretch>
        </p:blipFill>
        <p:spPr>
          <a:xfrm>
            <a:off x="2121936" y="1328828"/>
            <a:ext cx="8288890" cy="5452972"/>
          </a:xfrm>
          <a:prstGeom prst="rect">
            <a:avLst/>
          </a:prstGeom>
        </p:spPr>
      </p:pic>
    </p:spTree>
    <p:custDataLst>
      <p:tags r:id="rId1"/>
    </p:custDataLst>
    <p:extLst>
      <p:ext uri="{BB962C8B-B14F-4D97-AF65-F5344CB8AC3E}">
        <p14:creationId xmlns:p14="http://schemas.microsoft.com/office/powerpoint/2010/main" val="2025919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sp>
        <p:nvSpPr>
          <p:cNvPr id="5" name="TextBox 4">
            <a:extLst>
              <a:ext uri="{FF2B5EF4-FFF2-40B4-BE49-F238E27FC236}">
                <a16:creationId xmlns:a16="http://schemas.microsoft.com/office/drawing/2014/main" id="{9B5B979A-6177-6A5A-C2DE-FEA16EFEBC0F}"/>
              </a:ext>
            </a:extLst>
          </p:cNvPr>
          <p:cNvSpPr txBox="1"/>
          <p:nvPr/>
        </p:nvSpPr>
        <p:spPr>
          <a:xfrm>
            <a:off x="2447637" y="2179782"/>
            <a:ext cx="7850909" cy="2669309"/>
          </a:xfrm>
          <a:prstGeom prst="rect">
            <a:avLst/>
          </a:prstGeom>
          <a:noFill/>
        </p:spPr>
        <p:txBody>
          <a:bodyPr wrap="none" lIns="0" tIns="0" rIns="0" bIns="0" rtlCol="0">
            <a:noAutofit/>
          </a:bodyPr>
          <a:lstStyle/>
          <a:p>
            <a:pPr algn="l"/>
            <a:r>
              <a:rPr lang="en-US" sz="3200"/>
              <a:t>The Controller does not oversee the operation</a:t>
            </a:r>
          </a:p>
          <a:p>
            <a:pPr algn="l"/>
            <a:r>
              <a:rPr lang="en-US" sz="3200"/>
              <a:t>of the Views and Models - it's not a </a:t>
            </a:r>
            <a:r>
              <a:rPr lang="en-US" sz="3200" err="1"/>
              <a:t>GodClass</a:t>
            </a:r>
            <a:r>
              <a:rPr lang="en-US" sz="3200"/>
              <a:t>.</a:t>
            </a:r>
          </a:p>
          <a:p>
            <a:pPr algn="l"/>
            <a:r>
              <a:rPr lang="en-US" sz="3200"/>
              <a:t>The controller mediates communication </a:t>
            </a:r>
          </a:p>
          <a:p>
            <a:pPr algn="l"/>
            <a:r>
              <a:rPr lang="en-US" sz="3200"/>
              <a:t>and unifies validation, using either direct calls</a:t>
            </a:r>
          </a:p>
          <a:p>
            <a:pPr algn="l"/>
            <a:r>
              <a:rPr lang="en-US" sz="3200"/>
              <a:t>or the </a:t>
            </a:r>
            <a:r>
              <a:rPr lang="en-US" sz="3200" err="1"/>
              <a:t>ObserverPattern</a:t>
            </a:r>
            <a:r>
              <a:rPr lang="en-US" sz="3200"/>
              <a:t>. </a:t>
            </a:r>
            <a:endParaRPr lang="vi-VN" sz="3200" b="1" err="1"/>
          </a:p>
        </p:txBody>
      </p:sp>
      <p:pic>
        <p:nvPicPr>
          <p:cNvPr id="10" name="Graphic 9" descr="High voltage with solid fill">
            <a:extLst>
              <a:ext uri="{FF2B5EF4-FFF2-40B4-BE49-F238E27FC236}">
                <a16:creationId xmlns:a16="http://schemas.microsoft.com/office/drawing/2014/main" id="{C47E4820-F255-15C5-F73D-04F7AF721E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66982" y="2179782"/>
            <a:ext cx="914400" cy="914400"/>
          </a:xfrm>
          <a:prstGeom prst="rect">
            <a:avLst/>
          </a:prstGeom>
        </p:spPr>
      </p:pic>
    </p:spTree>
    <p:custDataLst>
      <p:tags r:id="rId1"/>
    </p:custDataLst>
    <p:extLst>
      <p:ext uri="{BB962C8B-B14F-4D97-AF65-F5344CB8AC3E}">
        <p14:creationId xmlns:p14="http://schemas.microsoft.com/office/powerpoint/2010/main" val="3183152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6C56BD45-B3D0-1482-095A-505AFDA42532}"/>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Definition &amp; Motivation</a:t>
            </a:r>
          </a:p>
        </p:txBody>
      </p:sp>
      <p:pic>
        <p:nvPicPr>
          <p:cNvPr id="6" name="Picture 5">
            <a:extLst>
              <a:ext uri="{FF2B5EF4-FFF2-40B4-BE49-F238E27FC236}">
                <a16:creationId xmlns:a16="http://schemas.microsoft.com/office/drawing/2014/main" id="{16A2FDF5-50B2-92A7-6FB1-E807D15E1240}"/>
              </a:ext>
            </a:extLst>
          </p:cNvPr>
          <p:cNvPicPr>
            <a:picLocks noChangeAspect="1"/>
          </p:cNvPicPr>
          <p:nvPr/>
        </p:nvPicPr>
        <p:blipFill>
          <a:blip r:embed="rId4"/>
          <a:stretch>
            <a:fillRect/>
          </a:stretch>
        </p:blipFill>
        <p:spPr>
          <a:xfrm>
            <a:off x="711533" y="1309778"/>
            <a:ext cx="7699042" cy="5064932"/>
          </a:xfrm>
          <a:prstGeom prst="rect">
            <a:avLst/>
          </a:prstGeom>
        </p:spPr>
      </p:pic>
      <p:sp>
        <p:nvSpPr>
          <p:cNvPr id="2" name="TextBox 1">
            <a:extLst>
              <a:ext uri="{FF2B5EF4-FFF2-40B4-BE49-F238E27FC236}">
                <a16:creationId xmlns:a16="http://schemas.microsoft.com/office/drawing/2014/main" id="{F47D807D-04BE-2364-3A46-07F97C2BBD60}"/>
              </a:ext>
            </a:extLst>
          </p:cNvPr>
          <p:cNvSpPr txBox="1"/>
          <p:nvPr/>
        </p:nvSpPr>
        <p:spPr>
          <a:xfrm>
            <a:off x="9239250" y="1309778"/>
            <a:ext cx="2457450" cy="4767172"/>
          </a:xfrm>
          <a:prstGeom prst="rect">
            <a:avLst/>
          </a:prstGeom>
          <a:noFill/>
        </p:spPr>
        <p:txBody>
          <a:bodyPr wrap="square" lIns="0" tIns="0" rIns="0" bIns="0" rtlCol="0">
            <a:noAutofit/>
          </a:bodyPr>
          <a:lstStyle/>
          <a:p>
            <a:pPr marL="285750" indent="-285750" algn="l">
              <a:buFont typeface="Arial" panose="020B0604020202020204" pitchFamily="34" charset="0"/>
              <a:buChar char="•"/>
            </a:pPr>
            <a:r>
              <a:rPr lang="en-US" sz="3200" err="1"/>
              <a:t>EventArg</a:t>
            </a:r>
            <a:endParaRPr lang="en-US" sz="3200"/>
          </a:p>
          <a:p>
            <a:pPr marL="285750" indent="-285750" algn="l">
              <a:buFont typeface="Arial" panose="020B0604020202020204" pitchFamily="34" charset="0"/>
              <a:buChar char="•"/>
            </a:pPr>
            <a:r>
              <a:rPr lang="en-US" sz="3200"/>
              <a:t>Action</a:t>
            </a:r>
            <a:endParaRPr lang="vi-VN" sz="3200" err="1"/>
          </a:p>
        </p:txBody>
      </p:sp>
    </p:spTree>
    <p:custDataLst>
      <p:tags r:id="rId1"/>
    </p:custDataLst>
    <p:extLst>
      <p:ext uri="{BB962C8B-B14F-4D97-AF65-F5344CB8AC3E}">
        <p14:creationId xmlns:p14="http://schemas.microsoft.com/office/powerpoint/2010/main" val="39410513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4C91A9-5472-2D41-E18E-63015CED2CE1}"/>
              </a:ext>
            </a:extLst>
          </p:cNvPr>
          <p:cNvPicPr>
            <a:picLocks noChangeAspect="1"/>
          </p:cNvPicPr>
          <p:nvPr/>
        </p:nvPicPr>
        <p:blipFill rotWithShape="1">
          <a:blip r:embed="rId4"/>
          <a:srcRect b="15774"/>
          <a:stretch/>
        </p:blipFill>
        <p:spPr>
          <a:xfrm>
            <a:off x="1773153" y="1401056"/>
            <a:ext cx="9549786" cy="5285493"/>
          </a:xfrm>
          <a:prstGeom prst="rect">
            <a:avLst/>
          </a:prstGeom>
        </p:spPr>
      </p:pic>
      <p:sp>
        <p:nvSpPr>
          <p:cNvPr id="8" name="Title 4">
            <a:extLst>
              <a:ext uri="{FF2B5EF4-FFF2-40B4-BE49-F238E27FC236}">
                <a16:creationId xmlns:a16="http://schemas.microsoft.com/office/drawing/2014/main" id="{F94F73EA-25EE-EA7E-2546-C9C62607BB55}"/>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Tree>
    <p:custDataLst>
      <p:tags r:id="rId1"/>
    </p:custDataLst>
    <p:extLst>
      <p:ext uri="{BB962C8B-B14F-4D97-AF65-F5344CB8AC3E}">
        <p14:creationId xmlns:p14="http://schemas.microsoft.com/office/powerpoint/2010/main" val="2166119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4C91A9-5472-2D41-E18E-63015CED2CE1}"/>
              </a:ext>
            </a:extLst>
          </p:cNvPr>
          <p:cNvPicPr>
            <a:picLocks noChangeAspect="1"/>
          </p:cNvPicPr>
          <p:nvPr/>
        </p:nvPicPr>
        <p:blipFill rotWithShape="1">
          <a:blip r:embed="rId4"/>
          <a:srcRect b="15774"/>
          <a:stretch/>
        </p:blipFill>
        <p:spPr>
          <a:xfrm>
            <a:off x="1773153" y="1401056"/>
            <a:ext cx="9549786" cy="5285493"/>
          </a:xfrm>
          <a:prstGeom prst="rect">
            <a:avLst/>
          </a:prstGeom>
        </p:spPr>
      </p:pic>
      <p:sp>
        <p:nvSpPr>
          <p:cNvPr id="8" name="Title 4">
            <a:extLst>
              <a:ext uri="{FF2B5EF4-FFF2-40B4-BE49-F238E27FC236}">
                <a16:creationId xmlns:a16="http://schemas.microsoft.com/office/drawing/2014/main" id="{F94F73EA-25EE-EA7E-2546-C9C62607BB55}"/>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2" name="Rectangle 1">
            <a:extLst>
              <a:ext uri="{FF2B5EF4-FFF2-40B4-BE49-F238E27FC236}">
                <a16:creationId xmlns:a16="http://schemas.microsoft.com/office/drawing/2014/main" id="{AC45C66A-6A51-77B7-422E-68DC75005974}"/>
              </a:ext>
            </a:extLst>
          </p:cNvPr>
          <p:cNvSpPr/>
          <p:nvPr/>
        </p:nvSpPr>
        <p:spPr>
          <a:xfrm>
            <a:off x="5107709" y="5421745"/>
            <a:ext cx="1283855" cy="360219"/>
          </a:xfrm>
          <a:prstGeom prst="rect">
            <a:avLst/>
          </a:prstGeom>
          <a:solidFill>
            <a:srgbClr val="E360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 name="Rectangle 3">
            <a:extLst>
              <a:ext uri="{FF2B5EF4-FFF2-40B4-BE49-F238E27FC236}">
                <a16:creationId xmlns:a16="http://schemas.microsoft.com/office/drawing/2014/main" id="{13494320-294D-5BB1-5A2A-0C89489FE606}"/>
              </a:ext>
            </a:extLst>
          </p:cNvPr>
          <p:cNvSpPr/>
          <p:nvPr/>
        </p:nvSpPr>
        <p:spPr>
          <a:xfrm>
            <a:off x="5260108" y="4105996"/>
            <a:ext cx="1283855" cy="360219"/>
          </a:xfrm>
          <a:prstGeom prst="rect">
            <a:avLst/>
          </a:prstGeom>
          <a:solidFill>
            <a:srgbClr val="E360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3288807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19835" y="1335394"/>
            <a:ext cx="10334624" cy="4909173"/>
          </a:xfrm>
          <a:prstGeom prst="rect">
            <a:avLst/>
          </a:prstGeom>
        </p:spPr>
      </p:pic>
      <p:sp>
        <p:nvSpPr>
          <p:cNvPr id="9" name="Title 4">
            <a:extLst>
              <a:ext uri="{FF2B5EF4-FFF2-40B4-BE49-F238E27FC236}">
                <a16:creationId xmlns:a16="http://schemas.microsoft.com/office/drawing/2014/main" id="{250C74F4-1D74-E681-9F5F-DA38E7E617C9}"/>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Tree>
    <p:custDataLst>
      <p:tags r:id="rId1"/>
    </p:custDataLst>
    <p:extLst>
      <p:ext uri="{BB962C8B-B14F-4D97-AF65-F5344CB8AC3E}">
        <p14:creationId xmlns:p14="http://schemas.microsoft.com/office/powerpoint/2010/main" val="2788236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838BC-5549-CCE3-1FB1-1D0815D636B5}"/>
              </a:ext>
            </a:extLst>
          </p:cNvPr>
          <p:cNvSpPr>
            <a:spLocks noGrp="1"/>
          </p:cNvSpPr>
          <p:nvPr>
            <p:ph type="title"/>
          </p:nvPr>
        </p:nvSpPr>
        <p:spPr/>
        <p:txBody>
          <a:bodyPr/>
          <a:lstStyle/>
          <a:p>
            <a:r>
              <a:rPr lang="en-US">
                <a:cs typeface="Calibri"/>
              </a:rPr>
              <a:t>About me</a:t>
            </a:r>
            <a:endParaRPr lang="en-US"/>
          </a:p>
        </p:txBody>
      </p:sp>
      <p:sp>
        <p:nvSpPr>
          <p:cNvPr id="3" name="Text Placeholder 2">
            <a:extLst>
              <a:ext uri="{FF2B5EF4-FFF2-40B4-BE49-F238E27FC236}">
                <a16:creationId xmlns:a16="http://schemas.microsoft.com/office/drawing/2014/main" id="{483EB76D-DCD7-8849-23CF-9EC6A15958B8}"/>
              </a:ext>
            </a:extLst>
          </p:cNvPr>
          <p:cNvSpPr>
            <a:spLocks noGrp="1"/>
          </p:cNvSpPr>
          <p:nvPr>
            <p:ph type="body" sz="quarter" idx="16"/>
          </p:nvPr>
        </p:nvSpPr>
        <p:spPr/>
        <p:txBody>
          <a:bodyPr vert="horz" lIns="0" tIns="0" rIns="0" bIns="0" rtlCol="0" anchor="t" anchorCtr="0">
            <a:normAutofit/>
          </a:bodyPr>
          <a:lstStyle/>
          <a:p>
            <a:pPr marL="0" indent="0" defTabSz="914377">
              <a:buNone/>
            </a:pPr>
            <a:r>
              <a:rPr lang="en-US" sz="2400" b="1" dirty="0">
                <a:ea typeface="+mn-lt"/>
                <a:cs typeface="+mn-lt"/>
              </a:rPr>
              <a:t>Cao Nguyễn Hoàng Hiệp</a:t>
            </a:r>
            <a:endParaRPr lang="en-US" sz="2400" dirty="0">
              <a:ea typeface="+mn-lt"/>
              <a:cs typeface="+mn-lt"/>
            </a:endParaRPr>
          </a:p>
          <a:p>
            <a:pPr defTabSz="914377"/>
            <a:r>
              <a:rPr lang="en-US" sz="1800" dirty="0">
                <a:ea typeface="+mn-lt"/>
                <a:cs typeface="+mn-lt"/>
              </a:rPr>
              <a:t>Studies Software Engineering at FPT University HCM (K16)</a:t>
            </a:r>
          </a:p>
          <a:p>
            <a:pPr defTabSz="914377"/>
            <a:r>
              <a:rPr lang="en-US" sz="1800" dirty="0">
                <a:ea typeface="+mn-lt"/>
                <a:cs typeface="+mn-lt"/>
              </a:rPr>
              <a:t>Member of F-Code</a:t>
            </a:r>
          </a:p>
          <a:p>
            <a:pPr defTabSz="914377"/>
            <a:r>
              <a:rPr lang="en-US" sz="1800" dirty="0">
                <a:ea typeface="+mn-lt"/>
                <a:cs typeface="+mn-lt"/>
              </a:rPr>
              <a:t>Consultant for Netcompany Vietnam since September 2022</a:t>
            </a:r>
          </a:p>
          <a:p>
            <a:pPr defTabSz="914377"/>
            <a:endParaRPr lang="en-US" sz="1800" dirty="0">
              <a:ea typeface="+mn-lt"/>
              <a:cs typeface="+mn-lt"/>
            </a:endParaRPr>
          </a:p>
        </p:txBody>
      </p:sp>
      <p:pic>
        <p:nvPicPr>
          <p:cNvPr id="5" name="Picture 5">
            <a:extLst>
              <a:ext uri="{FF2B5EF4-FFF2-40B4-BE49-F238E27FC236}">
                <a16:creationId xmlns:a16="http://schemas.microsoft.com/office/drawing/2014/main" id="{344358B0-AF30-5233-9F7F-D3127B39AAC5}"/>
              </a:ext>
            </a:extLst>
          </p:cNvPr>
          <p:cNvPicPr>
            <a:picLocks noChangeAspect="1"/>
          </p:cNvPicPr>
          <p:nvPr/>
        </p:nvPicPr>
        <p:blipFill rotWithShape="1">
          <a:blip r:embed="rId2"/>
          <a:srcRect l="4349" t="21609" r="6555"/>
          <a:stretch/>
        </p:blipFill>
        <p:spPr>
          <a:xfrm>
            <a:off x="7026318" y="769704"/>
            <a:ext cx="4131209" cy="5396147"/>
          </a:xfrm>
          <a:prstGeom prst="rect">
            <a:avLst/>
          </a:prstGeom>
        </p:spPr>
      </p:pic>
    </p:spTree>
    <p:extLst>
      <p:ext uri="{BB962C8B-B14F-4D97-AF65-F5344CB8AC3E}">
        <p14:creationId xmlns:p14="http://schemas.microsoft.com/office/powerpoint/2010/main" val="3924228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rotWithShape="1">
          <a:blip r:embed="rId4">
            <a:extLst>
              <a:ext uri="{28A0092B-C50C-407E-A947-70E740481C1C}">
                <a14:useLocalDpi xmlns:a14="http://schemas.microsoft.com/office/drawing/2010/main" val="0"/>
              </a:ext>
            </a:extLst>
          </a:blip>
          <a:srcRect l="17848" t="7232" r="40026" b="35604"/>
          <a:stretch/>
        </p:blipFill>
        <p:spPr>
          <a:xfrm>
            <a:off x="2050472" y="1184346"/>
            <a:ext cx="8146473" cy="5250724"/>
          </a:xfrm>
          <a:prstGeom prst="rect">
            <a:avLst/>
          </a:prstGeom>
        </p:spPr>
      </p:pic>
      <p:sp>
        <p:nvSpPr>
          <p:cNvPr id="5" name="Title 4">
            <a:extLst>
              <a:ext uri="{FF2B5EF4-FFF2-40B4-BE49-F238E27FC236}">
                <a16:creationId xmlns:a16="http://schemas.microsoft.com/office/drawing/2014/main" id="{6534F37F-035B-BD5A-C110-E7A453693EF6}"/>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Tree>
    <p:custDataLst>
      <p:tags r:id="rId1"/>
    </p:custDataLst>
    <p:extLst>
      <p:ext uri="{BB962C8B-B14F-4D97-AF65-F5344CB8AC3E}">
        <p14:creationId xmlns:p14="http://schemas.microsoft.com/office/powerpoint/2010/main" val="15767408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rotWithShape="1">
          <a:blip r:embed="rId4">
            <a:extLst>
              <a:ext uri="{28A0092B-C50C-407E-A947-70E740481C1C}">
                <a14:useLocalDpi xmlns:a14="http://schemas.microsoft.com/office/drawing/2010/main" val="0"/>
              </a:ext>
            </a:extLst>
          </a:blip>
          <a:srcRect l="8700" t="44910" r="44828" b="-2074"/>
          <a:stretch/>
        </p:blipFill>
        <p:spPr>
          <a:xfrm>
            <a:off x="2050472" y="1184346"/>
            <a:ext cx="8986983" cy="5250724"/>
          </a:xfrm>
          <a:prstGeom prst="rect">
            <a:avLst/>
          </a:prstGeom>
        </p:spPr>
      </p:pic>
      <p:sp>
        <p:nvSpPr>
          <p:cNvPr id="5" name="Title 4">
            <a:extLst>
              <a:ext uri="{FF2B5EF4-FFF2-40B4-BE49-F238E27FC236}">
                <a16:creationId xmlns:a16="http://schemas.microsoft.com/office/drawing/2014/main" id="{F59CD880-7690-2F93-3E1E-0D419F773EF4}"/>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6" name="Rectangle 5">
            <a:extLst>
              <a:ext uri="{FF2B5EF4-FFF2-40B4-BE49-F238E27FC236}">
                <a16:creationId xmlns:a16="http://schemas.microsoft.com/office/drawing/2014/main" id="{2931603B-7E2D-D483-5C74-8E87EBE57046}"/>
              </a:ext>
            </a:extLst>
          </p:cNvPr>
          <p:cNvSpPr/>
          <p:nvPr/>
        </p:nvSpPr>
        <p:spPr>
          <a:xfrm>
            <a:off x="5440578" y="5583815"/>
            <a:ext cx="4700950" cy="419821"/>
          </a:xfrm>
          <a:prstGeom prst="rect">
            <a:avLst/>
          </a:prstGeom>
          <a:solidFill>
            <a:srgbClr val="E360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557684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rotWithShape="1">
          <a:blip r:embed="rId4">
            <a:extLst>
              <a:ext uri="{28A0092B-C50C-407E-A947-70E740481C1C}">
                <a14:useLocalDpi xmlns:a14="http://schemas.microsoft.com/office/drawing/2010/main" val="0"/>
              </a:ext>
            </a:extLst>
          </a:blip>
          <a:srcRect l="17848" t="7232" r="40026" b="35604"/>
          <a:stretch/>
        </p:blipFill>
        <p:spPr>
          <a:xfrm>
            <a:off x="2050472" y="1184346"/>
            <a:ext cx="8146473" cy="5250724"/>
          </a:xfrm>
          <a:prstGeom prst="rect">
            <a:avLst/>
          </a:prstGeom>
        </p:spPr>
      </p:pic>
      <p:sp>
        <p:nvSpPr>
          <p:cNvPr id="5" name="Title 4">
            <a:extLst>
              <a:ext uri="{FF2B5EF4-FFF2-40B4-BE49-F238E27FC236}">
                <a16:creationId xmlns:a16="http://schemas.microsoft.com/office/drawing/2014/main" id="{6534F37F-035B-BD5A-C110-E7A453693EF6}"/>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6" name="Rectangle 5">
            <a:extLst>
              <a:ext uri="{FF2B5EF4-FFF2-40B4-BE49-F238E27FC236}">
                <a16:creationId xmlns:a16="http://schemas.microsoft.com/office/drawing/2014/main" id="{859DB5E6-5E6F-3E57-E472-74D241FD1215}"/>
              </a:ext>
            </a:extLst>
          </p:cNvPr>
          <p:cNvSpPr/>
          <p:nvPr/>
        </p:nvSpPr>
        <p:spPr>
          <a:xfrm>
            <a:off x="5089236" y="4134871"/>
            <a:ext cx="3038764" cy="360219"/>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449558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rotWithShape="1">
          <a:blip r:embed="rId4">
            <a:extLst>
              <a:ext uri="{28A0092B-C50C-407E-A947-70E740481C1C}">
                <a14:useLocalDpi xmlns:a14="http://schemas.microsoft.com/office/drawing/2010/main" val="0"/>
              </a:ext>
            </a:extLst>
          </a:blip>
          <a:srcRect l="17848" t="7232" r="40026" b="35604"/>
          <a:stretch/>
        </p:blipFill>
        <p:spPr>
          <a:xfrm>
            <a:off x="2050472" y="1184346"/>
            <a:ext cx="8146473" cy="5250724"/>
          </a:xfrm>
          <a:prstGeom prst="rect">
            <a:avLst/>
          </a:prstGeom>
        </p:spPr>
      </p:pic>
      <p:sp>
        <p:nvSpPr>
          <p:cNvPr id="5" name="Title 4">
            <a:extLst>
              <a:ext uri="{FF2B5EF4-FFF2-40B4-BE49-F238E27FC236}">
                <a16:creationId xmlns:a16="http://schemas.microsoft.com/office/drawing/2014/main" id="{6534F37F-035B-BD5A-C110-E7A453693EF6}"/>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
        <p:nvSpPr>
          <p:cNvPr id="6" name="Rectangle 5">
            <a:extLst>
              <a:ext uri="{FF2B5EF4-FFF2-40B4-BE49-F238E27FC236}">
                <a16:creationId xmlns:a16="http://schemas.microsoft.com/office/drawing/2014/main" id="{859DB5E6-5E6F-3E57-E472-74D241FD1215}"/>
              </a:ext>
            </a:extLst>
          </p:cNvPr>
          <p:cNvSpPr/>
          <p:nvPr/>
        </p:nvSpPr>
        <p:spPr>
          <a:xfrm>
            <a:off x="3417454" y="4147127"/>
            <a:ext cx="822037" cy="338727"/>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2091098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rotWithShape="1">
          <a:blip r:embed="rId4">
            <a:extLst>
              <a:ext uri="{28A0092B-C50C-407E-A947-70E740481C1C}">
                <a14:useLocalDpi xmlns:a14="http://schemas.microsoft.com/office/drawing/2010/main" val="0"/>
              </a:ext>
            </a:extLst>
          </a:blip>
          <a:srcRect l="57270" t="36794" r="-3742" b="6041"/>
          <a:stretch/>
        </p:blipFill>
        <p:spPr>
          <a:xfrm>
            <a:off x="2050472" y="1184346"/>
            <a:ext cx="8986983" cy="5250724"/>
          </a:xfrm>
          <a:prstGeom prst="rect">
            <a:avLst/>
          </a:prstGeom>
        </p:spPr>
      </p:pic>
      <p:sp>
        <p:nvSpPr>
          <p:cNvPr id="5" name="Title 4">
            <a:extLst>
              <a:ext uri="{FF2B5EF4-FFF2-40B4-BE49-F238E27FC236}">
                <a16:creationId xmlns:a16="http://schemas.microsoft.com/office/drawing/2014/main" id="{23B5AD86-36AA-EA3D-ABAB-25489D807B89}"/>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Tree>
    <p:custDataLst>
      <p:tags r:id="rId1"/>
    </p:custDataLst>
    <p:extLst>
      <p:ext uri="{BB962C8B-B14F-4D97-AF65-F5344CB8AC3E}">
        <p14:creationId xmlns:p14="http://schemas.microsoft.com/office/powerpoint/2010/main" val="2367682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B5AD86-36AA-EA3D-ABAB-25489D807B89}"/>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3" name="Picture 2">
            <a:extLst>
              <a:ext uri="{FF2B5EF4-FFF2-40B4-BE49-F238E27FC236}">
                <a16:creationId xmlns:a16="http://schemas.microsoft.com/office/drawing/2014/main" id="{83C8223C-AA04-02BF-1FCC-BF922273E27E}"/>
              </a:ext>
            </a:extLst>
          </p:cNvPr>
          <p:cNvPicPr>
            <a:picLocks noChangeAspect="1"/>
          </p:cNvPicPr>
          <p:nvPr/>
        </p:nvPicPr>
        <p:blipFill>
          <a:blip r:embed="rId4"/>
          <a:stretch>
            <a:fillRect/>
          </a:stretch>
        </p:blipFill>
        <p:spPr>
          <a:xfrm>
            <a:off x="1691553" y="1324154"/>
            <a:ext cx="8808893" cy="4921071"/>
          </a:xfrm>
          <a:prstGeom prst="rect">
            <a:avLst/>
          </a:prstGeom>
        </p:spPr>
      </p:pic>
    </p:spTree>
    <p:custDataLst>
      <p:tags r:id="rId1"/>
    </p:custDataLst>
    <p:extLst>
      <p:ext uri="{BB962C8B-B14F-4D97-AF65-F5344CB8AC3E}">
        <p14:creationId xmlns:p14="http://schemas.microsoft.com/office/powerpoint/2010/main" val="510866402"/>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B5AD86-36AA-EA3D-ABAB-25489D807B89}"/>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3" name="Picture 2">
            <a:extLst>
              <a:ext uri="{FF2B5EF4-FFF2-40B4-BE49-F238E27FC236}">
                <a16:creationId xmlns:a16="http://schemas.microsoft.com/office/drawing/2014/main" id="{83C8223C-AA04-02BF-1FCC-BF922273E27E}"/>
              </a:ext>
            </a:extLst>
          </p:cNvPr>
          <p:cNvPicPr>
            <a:picLocks noChangeAspect="1"/>
          </p:cNvPicPr>
          <p:nvPr/>
        </p:nvPicPr>
        <p:blipFill>
          <a:blip r:embed="rId4"/>
          <a:stretch>
            <a:fillRect/>
          </a:stretch>
        </p:blipFill>
        <p:spPr>
          <a:xfrm>
            <a:off x="1691553" y="1324154"/>
            <a:ext cx="8808893" cy="4921071"/>
          </a:xfrm>
          <a:prstGeom prst="rect">
            <a:avLst/>
          </a:prstGeom>
        </p:spPr>
      </p:pic>
      <p:sp>
        <p:nvSpPr>
          <p:cNvPr id="6" name="Rectangle 5">
            <a:extLst>
              <a:ext uri="{FF2B5EF4-FFF2-40B4-BE49-F238E27FC236}">
                <a16:creationId xmlns:a16="http://schemas.microsoft.com/office/drawing/2014/main" id="{6EA0D257-7127-B69F-FB85-D2B2C1BD5BD8}"/>
              </a:ext>
            </a:extLst>
          </p:cNvPr>
          <p:cNvSpPr/>
          <p:nvPr/>
        </p:nvSpPr>
        <p:spPr>
          <a:xfrm>
            <a:off x="3103417" y="2558473"/>
            <a:ext cx="4128656" cy="2401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7" name="Rectangle 6">
            <a:extLst>
              <a:ext uri="{FF2B5EF4-FFF2-40B4-BE49-F238E27FC236}">
                <a16:creationId xmlns:a16="http://schemas.microsoft.com/office/drawing/2014/main" id="{5C7F254B-EABE-8B87-2263-292EDD842B92}"/>
              </a:ext>
            </a:extLst>
          </p:cNvPr>
          <p:cNvSpPr/>
          <p:nvPr/>
        </p:nvSpPr>
        <p:spPr>
          <a:xfrm>
            <a:off x="3763817" y="3563017"/>
            <a:ext cx="4128656" cy="2401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8" name="Rectangle 7">
            <a:extLst>
              <a:ext uri="{FF2B5EF4-FFF2-40B4-BE49-F238E27FC236}">
                <a16:creationId xmlns:a16="http://schemas.microsoft.com/office/drawing/2014/main" id="{827E5FFD-E494-66A0-D1CC-072114C7E1E6}"/>
              </a:ext>
            </a:extLst>
          </p:cNvPr>
          <p:cNvSpPr/>
          <p:nvPr/>
        </p:nvSpPr>
        <p:spPr>
          <a:xfrm>
            <a:off x="2941780" y="5754256"/>
            <a:ext cx="4872184" cy="269298"/>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cxnSp>
        <p:nvCxnSpPr>
          <p:cNvPr id="4" name="Straight Arrow Connector 3">
            <a:extLst>
              <a:ext uri="{FF2B5EF4-FFF2-40B4-BE49-F238E27FC236}">
                <a16:creationId xmlns:a16="http://schemas.microsoft.com/office/drawing/2014/main" id="{F9C92765-0FA0-656C-7C0A-6427FDA7CE15}"/>
              </a:ext>
            </a:extLst>
          </p:cNvPr>
          <p:cNvCxnSpPr>
            <a:cxnSpLocks/>
          </p:cNvCxnSpPr>
          <p:nvPr/>
        </p:nvCxnSpPr>
        <p:spPr>
          <a:xfrm flipV="1">
            <a:off x="4876800" y="2798618"/>
            <a:ext cx="1357745" cy="849746"/>
          </a:xfrm>
          <a:prstGeom prst="straightConnector1">
            <a:avLst/>
          </a:prstGeom>
          <a:ln w="38100">
            <a:solidFill>
              <a:srgbClr val="0F204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4553FDC-E91B-F67A-0CC9-412866B429E7}"/>
              </a:ext>
            </a:extLst>
          </p:cNvPr>
          <p:cNvCxnSpPr>
            <a:cxnSpLocks/>
          </p:cNvCxnSpPr>
          <p:nvPr/>
        </p:nvCxnSpPr>
        <p:spPr>
          <a:xfrm flipV="1">
            <a:off x="3851564" y="2798618"/>
            <a:ext cx="1108363" cy="1004544"/>
          </a:xfrm>
          <a:prstGeom prst="straightConnector1">
            <a:avLst/>
          </a:prstGeom>
          <a:ln w="38100">
            <a:solidFill>
              <a:srgbClr val="0F2047"/>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77388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9144B5-95FD-FF01-F584-C19873CD490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19835" y="1335394"/>
            <a:ext cx="10334624" cy="4909173"/>
          </a:xfrm>
          <a:prstGeom prst="rect">
            <a:avLst/>
          </a:prstGeom>
        </p:spPr>
      </p:pic>
      <p:sp>
        <p:nvSpPr>
          <p:cNvPr id="5" name="Title 4">
            <a:extLst>
              <a:ext uri="{FF2B5EF4-FFF2-40B4-BE49-F238E27FC236}">
                <a16:creationId xmlns:a16="http://schemas.microsoft.com/office/drawing/2014/main" id="{DE84BD9F-9446-AC3C-2116-52B033F86FAA}"/>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spTree>
    <p:custDataLst>
      <p:tags r:id="rId1"/>
    </p:custDataLst>
    <p:extLst>
      <p:ext uri="{BB962C8B-B14F-4D97-AF65-F5344CB8AC3E}">
        <p14:creationId xmlns:p14="http://schemas.microsoft.com/office/powerpoint/2010/main" val="862129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441D6C83-BFC7-FC79-97E8-24545D67121E}"/>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9" name="Picture 8">
            <a:extLst>
              <a:ext uri="{FF2B5EF4-FFF2-40B4-BE49-F238E27FC236}">
                <a16:creationId xmlns:a16="http://schemas.microsoft.com/office/drawing/2014/main" id="{8B5EA501-D9CA-1B9F-78F2-BD89C2AF73BE}"/>
              </a:ext>
            </a:extLst>
          </p:cNvPr>
          <p:cNvPicPr>
            <a:picLocks noChangeAspect="1"/>
          </p:cNvPicPr>
          <p:nvPr/>
        </p:nvPicPr>
        <p:blipFill>
          <a:blip r:embed="rId4"/>
          <a:stretch>
            <a:fillRect/>
          </a:stretch>
        </p:blipFill>
        <p:spPr>
          <a:xfrm>
            <a:off x="9369075" y="0"/>
            <a:ext cx="2822925" cy="6858000"/>
          </a:xfrm>
          <a:prstGeom prst="rect">
            <a:avLst/>
          </a:prstGeom>
        </p:spPr>
      </p:pic>
      <p:pic>
        <p:nvPicPr>
          <p:cNvPr id="4" name="Picture 3">
            <a:extLst>
              <a:ext uri="{FF2B5EF4-FFF2-40B4-BE49-F238E27FC236}">
                <a16:creationId xmlns:a16="http://schemas.microsoft.com/office/drawing/2014/main" id="{D90B5565-E529-BE64-6FD5-B8C951056D85}"/>
              </a:ext>
            </a:extLst>
          </p:cNvPr>
          <p:cNvPicPr>
            <a:picLocks noChangeAspect="1"/>
          </p:cNvPicPr>
          <p:nvPr/>
        </p:nvPicPr>
        <p:blipFill>
          <a:blip r:embed="rId5"/>
          <a:stretch>
            <a:fillRect/>
          </a:stretch>
        </p:blipFill>
        <p:spPr>
          <a:xfrm>
            <a:off x="711200" y="1368280"/>
            <a:ext cx="7145049" cy="4685823"/>
          </a:xfrm>
          <a:prstGeom prst="rect">
            <a:avLst/>
          </a:prstGeom>
        </p:spPr>
      </p:pic>
    </p:spTree>
    <p:custDataLst>
      <p:tags r:id="rId1"/>
    </p:custDataLst>
    <p:extLst>
      <p:ext uri="{BB962C8B-B14F-4D97-AF65-F5344CB8AC3E}">
        <p14:creationId xmlns:p14="http://schemas.microsoft.com/office/powerpoint/2010/main" val="159317587"/>
      </p:ext>
    </p:extLst>
  </p:cSld>
  <p:clrMapOvr>
    <a:masterClrMapping/>
  </p:clrMapOvr>
  <p:transition spd="slow">
    <p:wip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785DB6-32D3-6DB1-3749-D585785DDD30}"/>
              </a:ext>
            </a:extLst>
          </p:cNvPr>
          <p:cNvPicPr>
            <a:picLocks noChangeAspect="1"/>
          </p:cNvPicPr>
          <p:nvPr/>
        </p:nvPicPr>
        <p:blipFill rotWithShape="1">
          <a:blip r:embed="rId4"/>
          <a:srcRect b="51515"/>
          <a:stretch/>
        </p:blipFill>
        <p:spPr>
          <a:xfrm>
            <a:off x="711533" y="1487054"/>
            <a:ext cx="9289489" cy="4757513"/>
          </a:xfrm>
          <a:prstGeom prst="rect">
            <a:avLst/>
          </a:prstGeom>
        </p:spPr>
      </p:pic>
      <p:sp>
        <p:nvSpPr>
          <p:cNvPr id="8" name="Title 4">
            <a:extLst>
              <a:ext uri="{FF2B5EF4-FFF2-40B4-BE49-F238E27FC236}">
                <a16:creationId xmlns:a16="http://schemas.microsoft.com/office/drawing/2014/main" id="{441D6C83-BFC7-FC79-97E8-24545D67121E}"/>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9" name="Picture 8">
            <a:extLst>
              <a:ext uri="{FF2B5EF4-FFF2-40B4-BE49-F238E27FC236}">
                <a16:creationId xmlns:a16="http://schemas.microsoft.com/office/drawing/2014/main" id="{8B5EA501-D9CA-1B9F-78F2-BD89C2AF73BE}"/>
              </a:ext>
            </a:extLst>
          </p:cNvPr>
          <p:cNvPicPr>
            <a:picLocks noChangeAspect="1"/>
          </p:cNvPicPr>
          <p:nvPr/>
        </p:nvPicPr>
        <p:blipFill>
          <a:blip r:embed="rId5"/>
          <a:stretch>
            <a:fillRect/>
          </a:stretch>
        </p:blipFill>
        <p:spPr>
          <a:xfrm>
            <a:off x="9369075" y="0"/>
            <a:ext cx="2822925" cy="6858000"/>
          </a:xfrm>
          <a:prstGeom prst="rect">
            <a:avLst/>
          </a:prstGeom>
        </p:spPr>
      </p:pic>
    </p:spTree>
    <p:custDataLst>
      <p:tags r:id="rId1"/>
    </p:custDataLst>
    <p:extLst>
      <p:ext uri="{BB962C8B-B14F-4D97-AF65-F5344CB8AC3E}">
        <p14:creationId xmlns:p14="http://schemas.microsoft.com/office/powerpoint/2010/main" val="310178726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 name="object 10">
            <a:extLst>
              <a:ext uri="{FF2B5EF4-FFF2-40B4-BE49-F238E27FC236}">
                <a16:creationId xmlns:a16="http://schemas.microsoft.com/office/drawing/2014/main" id="{69C271BE-FE3B-4375-BF9A-97D37F8E7C02}"/>
              </a:ext>
            </a:extLst>
          </p:cNvPr>
          <p:cNvSpPr txBox="1">
            <a:spLocks/>
          </p:cNvSpPr>
          <p:nvPr/>
        </p:nvSpPr>
        <p:spPr>
          <a:xfrm>
            <a:off x="882726" y="609147"/>
            <a:ext cx="2745441" cy="768886"/>
          </a:xfrm>
          <a:prstGeom prst="rect">
            <a:avLst/>
          </a:prstGeom>
        </p:spPr>
        <p:txBody>
          <a:bodyPr vert="horz" wrap="square" lIns="0" tIns="71967" rIns="0" bIns="0" rtlCol="0" anchor="t" anchorCtr="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6933" marR="6773" lvl="0" indent="0" algn="l" defTabSz="914377" rtl="0" eaLnBrk="1" fontAlgn="auto" latinLnBrk="0" hangingPunct="1">
              <a:lnSpc>
                <a:spcPts val="2707"/>
              </a:lnSpc>
              <a:spcBef>
                <a:spcPts val="567"/>
              </a:spcBef>
              <a:spcAft>
                <a:spcPts val="0"/>
              </a:spcAft>
              <a:buClrTx/>
              <a:buSzTx/>
              <a:buFontTx/>
              <a:buNone/>
              <a:tabLst/>
              <a:defRPr/>
            </a:pPr>
            <a:r>
              <a:rPr kumimoji="0" lang="en-US" sz="2667" b="1" i="0" u="none" strike="noStrike" kern="1200" cap="all" spc="53" normalizeH="0" baseline="0" noProof="0">
                <a:ln>
                  <a:noFill/>
                </a:ln>
                <a:solidFill>
                  <a:srgbClr val="FFFFFF"/>
                </a:solidFill>
                <a:effectLst/>
                <a:uLnTx/>
                <a:uFillTx/>
                <a:latin typeface="Calibri" panose="020F0502020204030204"/>
                <a:ea typeface="+mj-ea"/>
                <a:cs typeface="+mj-cs"/>
              </a:rPr>
              <a:t>Netcompany </a:t>
            </a:r>
            <a:br>
              <a:rPr kumimoji="0" lang="en-US" sz="2667" b="1" i="0" u="none" strike="noStrike" kern="1200" cap="all" spc="53" normalizeH="0" baseline="0" noProof="0">
                <a:ln>
                  <a:noFill/>
                </a:ln>
                <a:solidFill>
                  <a:srgbClr val="FFFFFF"/>
                </a:solidFill>
                <a:effectLst/>
                <a:uLnTx/>
                <a:uFillTx/>
                <a:latin typeface="Calibri" panose="020F0502020204030204"/>
                <a:ea typeface="+mj-ea"/>
                <a:cs typeface="+mj-cs"/>
              </a:rPr>
            </a:br>
            <a:r>
              <a:rPr kumimoji="0" lang="en-US" sz="2667" b="1" i="0" u="none" strike="noStrike" kern="1200" cap="all" spc="53" normalizeH="0" baseline="0" noProof="0">
                <a:ln>
                  <a:noFill/>
                </a:ln>
                <a:solidFill>
                  <a:srgbClr val="FFFFFF"/>
                </a:solidFill>
                <a:effectLst/>
                <a:uLnTx/>
                <a:uFillTx/>
                <a:latin typeface="Calibri" panose="020F0502020204030204"/>
                <a:ea typeface="+mj-ea"/>
                <a:cs typeface="+mj-cs"/>
              </a:rPr>
              <a:t>at a glance</a:t>
            </a:r>
            <a:endParaRPr kumimoji="0" lang="en-US" sz="2667" b="1" i="0" u="none" strike="noStrike" kern="1200" cap="all" spc="67" normalizeH="0" baseline="0" noProof="0">
              <a:ln>
                <a:noFill/>
              </a:ln>
              <a:solidFill>
                <a:srgbClr val="FFFFFF"/>
              </a:solidFill>
              <a:effectLst/>
              <a:uLnTx/>
              <a:uFillTx/>
              <a:latin typeface="Calibri" panose="020F0502020204030204"/>
              <a:ea typeface="+mj-ea"/>
              <a:cs typeface="+mj-cs"/>
            </a:endParaRPr>
          </a:p>
        </p:txBody>
      </p:sp>
      <p:sp>
        <p:nvSpPr>
          <p:cNvPr id="39" name="object 11">
            <a:extLst>
              <a:ext uri="{FF2B5EF4-FFF2-40B4-BE49-F238E27FC236}">
                <a16:creationId xmlns:a16="http://schemas.microsoft.com/office/drawing/2014/main" id="{3E7A1F99-825C-4D84-BE50-BA4A69D11AD4}"/>
              </a:ext>
            </a:extLst>
          </p:cNvPr>
          <p:cNvSpPr/>
          <p:nvPr/>
        </p:nvSpPr>
        <p:spPr>
          <a:xfrm>
            <a:off x="911123" y="1546291"/>
            <a:ext cx="160019" cy="0"/>
          </a:xfrm>
          <a:custGeom>
            <a:avLst/>
            <a:gdLst/>
            <a:ahLst/>
            <a:cxnLst/>
            <a:rect l="l" t="t" r="r" b="b"/>
            <a:pathLst>
              <a:path w="120015">
                <a:moveTo>
                  <a:pt x="0" y="0"/>
                </a:moveTo>
                <a:lnTo>
                  <a:pt x="119773" y="0"/>
                </a:lnTo>
              </a:path>
            </a:pathLst>
          </a:custGeom>
          <a:ln w="20256">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0F2047"/>
              </a:solidFill>
              <a:effectLst/>
              <a:uLnTx/>
              <a:uFillTx/>
              <a:latin typeface="Calibri" panose="020F0502020204030204"/>
              <a:ea typeface="+mn-ea"/>
              <a:cs typeface="+mn-cs"/>
            </a:endParaRPr>
          </a:p>
        </p:txBody>
      </p:sp>
      <p:sp>
        <p:nvSpPr>
          <p:cNvPr id="40" name="object 12">
            <a:extLst>
              <a:ext uri="{FF2B5EF4-FFF2-40B4-BE49-F238E27FC236}">
                <a16:creationId xmlns:a16="http://schemas.microsoft.com/office/drawing/2014/main" id="{3F276BB1-0642-495F-8030-EAFD05205546}"/>
              </a:ext>
            </a:extLst>
          </p:cNvPr>
          <p:cNvSpPr txBox="1"/>
          <p:nvPr/>
        </p:nvSpPr>
        <p:spPr>
          <a:xfrm>
            <a:off x="894195" y="1751185"/>
            <a:ext cx="5560216" cy="1884276"/>
          </a:xfrm>
          <a:prstGeom prst="rect">
            <a:avLst/>
          </a:prstGeom>
        </p:spPr>
        <p:txBody>
          <a:bodyPr vert="horz" wrap="square" lIns="0" tIns="16933"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rPr>
              <a:t>Netcompany is one of Europe’s fastest growing and most successful IT services companies, leading the way in showing how digital transformation can create strong, sustainable societies, successful companies and better lives for us all.</a:t>
            </a:r>
          </a:p>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rPr>
              <a:t>Our ambition is to become the market leader within IT services in Europe. The acquisition of Intrasoft in 2021 has strengthened our foundation to achieve that ambition - further expanding our portfolio of platforms and unique expertise across sectors with a global headcount of +7,400 talented employees.</a:t>
            </a:r>
          </a:p>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rPr>
              <a:t>By building flexible, scalable and secure digital platforms, Netcompany is positioned to help Europe thrive through a decade of massive digitisation.</a:t>
            </a:r>
          </a:p>
        </p:txBody>
      </p:sp>
      <p:cxnSp>
        <p:nvCxnSpPr>
          <p:cNvPr id="66" name="Straight Connector 65">
            <a:extLst>
              <a:ext uri="{FF2B5EF4-FFF2-40B4-BE49-F238E27FC236}">
                <a16:creationId xmlns:a16="http://schemas.microsoft.com/office/drawing/2014/main" id="{FC13AFD9-F835-4EDA-AC12-15904577432C}"/>
              </a:ext>
            </a:extLst>
          </p:cNvPr>
          <p:cNvCxnSpPr>
            <a:cxnSpLocks/>
          </p:cNvCxnSpPr>
          <p:nvPr/>
        </p:nvCxnSpPr>
        <p:spPr>
          <a:xfrm>
            <a:off x="894195" y="4357608"/>
            <a:ext cx="4795405" cy="0"/>
          </a:xfrm>
          <a:prstGeom prst="line">
            <a:avLst/>
          </a:prstGeom>
          <a:ln w="3175">
            <a:solidFill>
              <a:srgbClr val="FFFFFF">
                <a:alpha val="10196"/>
              </a:srgbClr>
            </a:solidFill>
          </a:ln>
        </p:spPr>
        <p:style>
          <a:lnRef idx="1">
            <a:schemeClr val="accent4"/>
          </a:lnRef>
          <a:fillRef idx="0">
            <a:schemeClr val="accent4"/>
          </a:fillRef>
          <a:effectRef idx="0">
            <a:schemeClr val="accent4"/>
          </a:effectRef>
          <a:fontRef idx="minor">
            <a:schemeClr val="tx1"/>
          </a:fontRef>
        </p:style>
      </p:cxnSp>
      <p:sp>
        <p:nvSpPr>
          <p:cNvPr id="4" name="TextBox 3">
            <a:extLst>
              <a:ext uri="{FF2B5EF4-FFF2-40B4-BE49-F238E27FC236}">
                <a16:creationId xmlns:a16="http://schemas.microsoft.com/office/drawing/2014/main" id="{E82F9D96-14FE-4122-B0F8-80C501B33009}"/>
              </a:ext>
            </a:extLst>
          </p:cNvPr>
          <p:cNvSpPr txBox="1"/>
          <p:nvPr/>
        </p:nvSpPr>
        <p:spPr>
          <a:xfrm>
            <a:off x="6128036" y="5749376"/>
            <a:ext cx="2967992" cy="435161"/>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C7C8C9"/>
                </a:solidFill>
                <a:effectLst/>
                <a:uLnTx/>
                <a:uFillTx/>
                <a:latin typeface="Calibri" panose="020F0502020204030204"/>
                <a:ea typeface="+mn-ea"/>
                <a:cs typeface="+mn-cs"/>
              </a:rPr>
              <a:t>Additional offices in: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FFFFFF"/>
                </a:solidFill>
                <a:effectLst/>
                <a:uLnTx/>
                <a:uFillTx/>
                <a:latin typeface="Calibri" panose="020F0502020204030204"/>
                <a:ea typeface="+mn-ea"/>
                <a:cs typeface="+mn-cs"/>
              </a:rPr>
              <a:t>Romania | Cyprus | Jordan | Kenya | South Africa</a:t>
            </a:r>
          </a:p>
        </p:txBody>
      </p:sp>
      <p:sp>
        <p:nvSpPr>
          <p:cNvPr id="43" name="object 6">
            <a:extLst>
              <a:ext uri="{FF2B5EF4-FFF2-40B4-BE49-F238E27FC236}">
                <a16:creationId xmlns:a16="http://schemas.microsoft.com/office/drawing/2014/main" id="{A0605C86-0CCC-41E0-9964-E3C828287423}"/>
              </a:ext>
            </a:extLst>
          </p:cNvPr>
          <p:cNvSpPr txBox="1"/>
          <p:nvPr/>
        </p:nvSpPr>
        <p:spPr>
          <a:xfrm>
            <a:off x="876279" y="4481316"/>
            <a:ext cx="1301520" cy="435161"/>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E5675A"/>
                </a:solidFill>
                <a:effectLst/>
                <a:uLnTx/>
                <a:uFillTx/>
                <a:latin typeface="Calibri"/>
                <a:ea typeface="+mn-ea"/>
                <a:cs typeface="Calibri"/>
              </a:rPr>
              <a:t>3.8bn</a:t>
            </a:r>
            <a:endParaRPr kumimoji="0" lang="en-US" sz="2133" b="0" i="0" u="none" strike="noStrike" kern="1200" cap="none" spc="0" normalizeH="0" baseline="0" noProof="0">
              <a:ln>
                <a:noFill/>
              </a:ln>
              <a:solidFill>
                <a:srgbClr val="0F2047"/>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20" normalizeH="0" baseline="0" noProof="0">
                <a:ln>
                  <a:noFill/>
                </a:ln>
                <a:solidFill>
                  <a:srgbClr val="FFFFFF"/>
                </a:solidFill>
                <a:effectLst/>
                <a:uLnTx/>
                <a:uFillTx/>
                <a:latin typeface="Calibri"/>
                <a:ea typeface="+mn-ea"/>
                <a:cs typeface="Calibri"/>
              </a:rPr>
              <a:t>Revenue (DKK) in 2022</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44" name="object 6">
            <a:extLst>
              <a:ext uri="{FF2B5EF4-FFF2-40B4-BE49-F238E27FC236}">
                <a16:creationId xmlns:a16="http://schemas.microsoft.com/office/drawing/2014/main" id="{79D2FA98-2E1E-4572-A7E0-C4782C7F2F63}"/>
              </a:ext>
            </a:extLst>
          </p:cNvPr>
          <p:cNvSpPr txBox="1"/>
          <p:nvPr/>
        </p:nvSpPr>
        <p:spPr>
          <a:xfrm>
            <a:off x="2632659" y="4481315"/>
            <a:ext cx="1314244" cy="567677"/>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E5675A"/>
                </a:solidFill>
                <a:effectLst/>
                <a:uLnTx/>
                <a:uFillTx/>
                <a:latin typeface="Calibri"/>
                <a:ea typeface="+mn-ea"/>
                <a:cs typeface="Calibri"/>
              </a:rPr>
              <a:t>+20%</a:t>
            </a:r>
            <a:endParaRPr kumimoji="0" lang="en-US" sz="2133" b="0" i="0" u="none" strike="noStrike" kern="1200" cap="none" spc="0" normalizeH="0" baseline="0" noProof="0">
              <a:ln>
                <a:noFill/>
              </a:ln>
              <a:solidFill>
                <a:srgbClr val="0F2047"/>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Avg. revenue growth </a:t>
            </a:r>
          </a:p>
          <a:p>
            <a:pPr marL="16933" marR="0" lvl="0" indent="0" algn="l" defTabSz="914377" rtl="0" eaLnBrk="1" fontAlgn="auto" latinLnBrk="0" hangingPunct="1">
              <a:lnSpc>
                <a:spcPts val="9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for +10 years</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48" name="object 6">
            <a:extLst>
              <a:ext uri="{FF2B5EF4-FFF2-40B4-BE49-F238E27FC236}">
                <a16:creationId xmlns:a16="http://schemas.microsoft.com/office/drawing/2014/main" id="{CA8EB506-A6B6-4660-9E2E-B9067F85944A}"/>
              </a:ext>
            </a:extLst>
          </p:cNvPr>
          <p:cNvSpPr txBox="1"/>
          <p:nvPr/>
        </p:nvSpPr>
        <p:spPr>
          <a:xfrm>
            <a:off x="4401763" y="4481316"/>
            <a:ext cx="1446029" cy="435161"/>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E5675A"/>
                </a:solidFill>
                <a:effectLst/>
                <a:uLnTx/>
                <a:uFillTx/>
                <a:latin typeface="Calibri"/>
                <a:ea typeface="+mn-ea"/>
                <a:cs typeface="Calibri"/>
              </a:rPr>
              <a:t>+4,100</a:t>
            </a:r>
            <a:endParaRPr kumimoji="0" lang="en-US" sz="2133" b="0" i="0" u="none" strike="noStrike" kern="1200" cap="none" spc="0" normalizeH="0" baseline="0" noProof="0">
              <a:ln>
                <a:noFill/>
              </a:ln>
              <a:solidFill>
                <a:srgbClr val="0F2047"/>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Employees year-end 2022</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59" name="object 6">
            <a:extLst>
              <a:ext uri="{FF2B5EF4-FFF2-40B4-BE49-F238E27FC236}">
                <a16:creationId xmlns:a16="http://schemas.microsoft.com/office/drawing/2014/main" id="{AEFAA18D-8DC3-42C1-A4C8-87F323EF5E73}"/>
              </a:ext>
            </a:extLst>
          </p:cNvPr>
          <p:cNvSpPr txBox="1"/>
          <p:nvPr/>
        </p:nvSpPr>
        <p:spPr>
          <a:xfrm>
            <a:off x="876279" y="5693709"/>
            <a:ext cx="1301520" cy="435161"/>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C7C8C9"/>
                </a:solidFill>
                <a:effectLst/>
                <a:uLnTx/>
                <a:uFillTx/>
                <a:latin typeface="Calibri"/>
                <a:ea typeface="+mn-ea"/>
                <a:cs typeface="Calibri"/>
              </a:rPr>
              <a:t>1.7bn</a:t>
            </a:r>
            <a:endParaRPr kumimoji="0" lang="en-US" sz="2667" b="0" i="0" u="none" strike="noStrike" kern="1200" cap="none" spc="0" normalizeH="0" baseline="0" noProof="0">
              <a:ln>
                <a:noFill/>
              </a:ln>
              <a:solidFill>
                <a:srgbClr val="C7C8C9"/>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20" normalizeH="0" baseline="0" noProof="0">
                <a:ln>
                  <a:noFill/>
                </a:ln>
                <a:solidFill>
                  <a:srgbClr val="FFFFFF"/>
                </a:solidFill>
                <a:effectLst/>
                <a:uLnTx/>
                <a:uFillTx/>
                <a:latin typeface="Calibri"/>
                <a:ea typeface="+mn-ea"/>
                <a:cs typeface="Calibri"/>
              </a:rPr>
              <a:t>Revenue (DKK) in 2022</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61" name="object 6">
            <a:extLst>
              <a:ext uri="{FF2B5EF4-FFF2-40B4-BE49-F238E27FC236}">
                <a16:creationId xmlns:a16="http://schemas.microsoft.com/office/drawing/2014/main" id="{1A1F6614-C0D0-4FCF-8498-575E5FA5C2B9}"/>
              </a:ext>
            </a:extLst>
          </p:cNvPr>
          <p:cNvSpPr txBox="1"/>
          <p:nvPr/>
        </p:nvSpPr>
        <p:spPr>
          <a:xfrm>
            <a:off x="2632659" y="5693708"/>
            <a:ext cx="1488860" cy="567677"/>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C7C8C9"/>
                </a:solidFill>
                <a:effectLst/>
                <a:uLnTx/>
                <a:uFillTx/>
                <a:latin typeface="Calibri"/>
                <a:ea typeface="+mn-ea"/>
                <a:cs typeface="Calibri"/>
              </a:rPr>
              <a:t>+8%</a:t>
            </a:r>
            <a:endParaRPr kumimoji="0" lang="en-US" sz="2133" b="0" i="0" u="none" strike="noStrike" kern="1200" cap="none" spc="0" normalizeH="0" baseline="0" noProof="0">
              <a:ln>
                <a:noFill/>
              </a:ln>
              <a:solidFill>
                <a:srgbClr val="C7C8C9"/>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Avg. revenue growth </a:t>
            </a:r>
          </a:p>
          <a:p>
            <a:pPr marL="16933" marR="0" lvl="0" indent="0" algn="l" defTabSz="914377" rtl="0" eaLnBrk="1" fontAlgn="auto" latinLnBrk="0" hangingPunct="1">
              <a:lnSpc>
                <a:spcPts val="9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for +10 years (+12% in 2022)</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62" name="object 6">
            <a:extLst>
              <a:ext uri="{FF2B5EF4-FFF2-40B4-BE49-F238E27FC236}">
                <a16:creationId xmlns:a16="http://schemas.microsoft.com/office/drawing/2014/main" id="{E075832F-4563-4D68-87B2-224566492E1F}"/>
              </a:ext>
            </a:extLst>
          </p:cNvPr>
          <p:cNvSpPr txBox="1"/>
          <p:nvPr/>
        </p:nvSpPr>
        <p:spPr>
          <a:xfrm>
            <a:off x="4401763" y="5693709"/>
            <a:ext cx="1446029" cy="435161"/>
          </a:xfrm>
          <a:prstGeom prst="rect">
            <a:avLst/>
          </a:prstGeom>
        </p:spPr>
        <p:txBody>
          <a:bodyPr vert="horz" wrap="square" lIns="0" tIns="1862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ts val="2000"/>
              </a:lnSpc>
              <a:spcBef>
                <a:spcPts val="0"/>
              </a:spcBef>
              <a:spcAft>
                <a:spcPts val="0"/>
              </a:spcAft>
              <a:buClrTx/>
              <a:buSzTx/>
              <a:buFontTx/>
              <a:buNone/>
              <a:tabLst/>
              <a:defRPr/>
            </a:pPr>
            <a:r>
              <a:rPr kumimoji="0" lang="en-US" sz="2133" b="1" i="0" u="none" strike="noStrike" kern="1200" cap="none" spc="-107" normalizeH="0" baseline="0" noProof="0">
                <a:ln>
                  <a:noFill/>
                </a:ln>
                <a:solidFill>
                  <a:srgbClr val="C7C8C9"/>
                </a:solidFill>
                <a:effectLst/>
                <a:uLnTx/>
                <a:uFillTx/>
                <a:latin typeface="Calibri"/>
                <a:ea typeface="+mn-ea"/>
                <a:cs typeface="Calibri"/>
              </a:rPr>
              <a:t>+3,200</a:t>
            </a:r>
            <a:endParaRPr kumimoji="0" lang="en-US" sz="2133" b="0" i="0" u="none" strike="noStrike" kern="1200" cap="none" spc="0" normalizeH="0" baseline="0" noProof="0">
              <a:ln>
                <a:noFill/>
              </a:ln>
              <a:solidFill>
                <a:srgbClr val="C7C8C9"/>
              </a:solidFill>
              <a:effectLst/>
              <a:uLnTx/>
              <a:uFillTx/>
              <a:latin typeface="Calibri"/>
              <a:ea typeface="+mn-ea"/>
              <a:cs typeface="Calibri"/>
            </a:endParaRPr>
          </a:p>
          <a:p>
            <a:pPr marL="16933" marR="0" lvl="0" indent="0" algn="l" defTabSz="914377" rtl="0" eaLnBrk="1" fontAlgn="auto" latinLnBrk="0" hangingPunct="1">
              <a:lnSpc>
                <a:spcPts val="1333"/>
              </a:lnSpc>
              <a:spcBef>
                <a:spcPts val="0"/>
              </a:spcBef>
              <a:spcAft>
                <a:spcPts val="0"/>
              </a:spcAft>
              <a:buClrTx/>
              <a:buSzTx/>
              <a:buFontTx/>
              <a:buNone/>
              <a:tabLst/>
              <a:defRPr/>
            </a:pPr>
            <a:r>
              <a:rPr kumimoji="0" lang="en-US" sz="933" b="1" i="0" u="none" strike="noStrike" kern="1200" cap="none" spc="-7" normalizeH="0" baseline="0" noProof="0">
                <a:ln>
                  <a:noFill/>
                </a:ln>
                <a:solidFill>
                  <a:srgbClr val="FFFFFF"/>
                </a:solidFill>
                <a:effectLst/>
                <a:uLnTx/>
                <a:uFillTx/>
                <a:latin typeface="Calibri"/>
                <a:ea typeface="+mn-ea"/>
                <a:cs typeface="Calibri"/>
              </a:rPr>
              <a:t>Employees year-end 2022</a:t>
            </a:r>
            <a:endParaRPr kumimoji="0" lang="en-US" sz="933" b="0" i="0" u="none" strike="noStrike" kern="1200" cap="none" spc="0" normalizeH="0" baseline="0" noProof="0">
              <a:ln>
                <a:noFill/>
              </a:ln>
              <a:solidFill>
                <a:srgbClr val="0F2047"/>
              </a:solidFill>
              <a:effectLst/>
              <a:uLnTx/>
              <a:uFillTx/>
              <a:latin typeface="Calibri"/>
              <a:ea typeface="+mn-ea"/>
              <a:cs typeface="Calibri"/>
            </a:endParaRPr>
          </a:p>
        </p:txBody>
      </p:sp>
      <p:sp>
        <p:nvSpPr>
          <p:cNvPr id="77" name="TextBox 76">
            <a:extLst>
              <a:ext uri="{FF2B5EF4-FFF2-40B4-BE49-F238E27FC236}">
                <a16:creationId xmlns:a16="http://schemas.microsoft.com/office/drawing/2014/main" id="{9B31D39C-A754-4E10-A923-7783AA72F796}"/>
              </a:ext>
            </a:extLst>
          </p:cNvPr>
          <p:cNvSpPr txBox="1"/>
          <p:nvPr/>
        </p:nvSpPr>
        <p:spPr>
          <a:xfrm>
            <a:off x="894195" y="4147783"/>
            <a:ext cx="1205091" cy="271680"/>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6053"/>
                </a:solidFill>
                <a:effectLst/>
                <a:uLnTx/>
                <a:uFillTx/>
                <a:latin typeface="Calibri" panose="020F0502020204030204"/>
                <a:ea typeface="+mn-ea"/>
                <a:cs typeface="+mn-cs"/>
              </a:rPr>
              <a:t>Netcompany Core </a:t>
            </a:r>
          </a:p>
        </p:txBody>
      </p:sp>
      <p:sp>
        <p:nvSpPr>
          <p:cNvPr id="78" name="TextBox 77">
            <a:extLst>
              <a:ext uri="{FF2B5EF4-FFF2-40B4-BE49-F238E27FC236}">
                <a16:creationId xmlns:a16="http://schemas.microsoft.com/office/drawing/2014/main" id="{3F76052E-E485-4601-A1FB-02CC64ED4193}"/>
              </a:ext>
            </a:extLst>
          </p:cNvPr>
          <p:cNvSpPr txBox="1"/>
          <p:nvPr/>
        </p:nvSpPr>
        <p:spPr>
          <a:xfrm>
            <a:off x="894195" y="5369465"/>
            <a:ext cx="2357005" cy="271680"/>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7C8C9"/>
                </a:solidFill>
                <a:effectLst/>
                <a:uLnTx/>
                <a:uFillTx/>
                <a:latin typeface="Calibri" panose="020F0502020204030204"/>
                <a:ea typeface="+mn-ea"/>
                <a:cs typeface="+mn-cs"/>
              </a:rPr>
              <a:t>Netcompany-Intrasoft </a:t>
            </a:r>
          </a:p>
        </p:txBody>
      </p:sp>
      <p:grpSp>
        <p:nvGrpSpPr>
          <p:cNvPr id="79" name="Graphic 10" descr="Chevron arrows outline">
            <a:extLst>
              <a:ext uri="{FF2B5EF4-FFF2-40B4-BE49-F238E27FC236}">
                <a16:creationId xmlns:a16="http://schemas.microsoft.com/office/drawing/2014/main" id="{B88C2EB2-824E-48EA-968A-89B11566BD18}"/>
              </a:ext>
            </a:extLst>
          </p:cNvPr>
          <p:cNvGrpSpPr>
            <a:grpSpLocks noChangeAspect="1"/>
          </p:cNvGrpSpPr>
          <p:nvPr/>
        </p:nvGrpSpPr>
        <p:grpSpPr>
          <a:xfrm>
            <a:off x="707600" y="4199793"/>
            <a:ext cx="97536" cy="97536"/>
            <a:chOff x="4240529" y="2299334"/>
            <a:chExt cx="448152" cy="544829"/>
          </a:xfrm>
          <a:solidFill>
            <a:schemeClr val="accent4"/>
          </a:solidFill>
        </p:grpSpPr>
        <p:sp>
          <p:nvSpPr>
            <p:cNvPr id="80" name="Freeform: Shape 79">
              <a:extLst>
                <a:ext uri="{FF2B5EF4-FFF2-40B4-BE49-F238E27FC236}">
                  <a16:creationId xmlns:a16="http://schemas.microsoft.com/office/drawing/2014/main" id="{67DB7486-F5CC-4544-B3EA-043D913221D2}"/>
                </a:ext>
              </a:extLst>
            </p:cNvPr>
            <p:cNvSpPr/>
            <p:nvPr/>
          </p:nvSpPr>
          <p:spPr>
            <a:xfrm>
              <a:off x="4240529" y="2299334"/>
              <a:ext cx="219551" cy="544829"/>
            </a:xfrm>
            <a:custGeom>
              <a:avLst/>
              <a:gdLst>
                <a:gd name="connsiteX0" fmla="*/ 0 w 219551"/>
                <a:gd name="connsiteY0" fmla="*/ 11430 h 544829"/>
                <a:gd name="connsiteX1" fmla="*/ 195739 w 219551"/>
                <a:gd name="connsiteY1" fmla="*/ 272415 h 544829"/>
                <a:gd name="connsiteX2" fmla="*/ 0 w 219551"/>
                <a:gd name="connsiteY2" fmla="*/ 533400 h 544829"/>
                <a:gd name="connsiteX3" fmla="*/ 15240 w 219551"/>
                <a:gd name="connsiteY3" fmla="*/ 544830 h 544829"/>
                <a:gd name="connsiteX4" fmla="*/ 219551 w 219551"/>
                <a:gd name="connsiteY4" fmla="*/ 272415 h 544829"/>
                <a:gd name="connsiteX5" fmla="*/ 15240 w 219551"/>
                <a:gd name="connsiteY5" fmla="*/ 0 h 544829"/>
                <a:gd name="connsiteX6" fmla="*/ 0 w 219551"/>
                <a:gd name="connsiteY6" fmla="*/ 11430 h 54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551" h="544829">
                  <a:moveTo>
                    <a:pt x="0" y="11430"/>
                  </a:moveTo>
                  <a:lnTo>
                    <a:pt x="195739" y="272415"/>
                  </a:lnTo>
                  <a:lnTo>
                    <a:pt x="0" y="533400"/>
                  </a:lnTo>
                  <a:lnTo>
                    <a:pt x="15240" y="544830"/>
                  </a:lnTo>
                  <a:lnTo>
                    <a:pt x="219551" y="272415"/>
                  </a:lnTo>
                  <a:lnTo>
                    <a:pt x="15240" y="0"/>
                  </a:lnTo>
                  <a:lnTo>
                    <a:pt x="0" y="11430"/>
                  </a:lnTo>
                  <a:close/>
                </a:path>
              </a:pathLst>
            </a:custGeom>
            <a:grpFill/>
            <a:ln w="6350" cap="flat">
              <a:solidFill>
                <a:schemeClr val="accent4"/>
              </a:solid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2047"/>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DCA8FBEF-DF63-4E7E-8599-969C1D1133F5}"/>
                </a:ext>
              </a:extLst>
            </p:cNvPr>
            <p:cNvSpPr/>
            <p:nvPr/>
          </p:nvSpPr>
          <p:spPr>
            <a:xfrm>
              <a:off x="4469130" y="2299334"/>
              <a:ext cx="219551" cy="544829"/>
            </a:xfrm>
            <a:custGeom>
              <a:avLst/>
              <a:gdLst>
                <a:gd name="connsiteX0" fmla="*/ 0 w 219551"/>
                <a:gd name="connsiteY0" fmla="*/ 11430 h 544829"/>
                <a:gd name="connsiteX1" fmla="*/ 195739 w 219551"/>
                <a:gd name="connsiteY1" fmla="*/ 272415 h 544829"/>
                <a:gd name="connsiteX2" fmla="*/ 0 w 219551"/>
                <a:gd name="connsiteY2" fmla="*/ 533400 h 544829"/>
                <a:gd name="connsiteX3" fmla="*/ 15240 w 219551"/>
                <a:gd name="connsiteY3" fmla="*/ 544830 h 544829"/>
                <a:gd name="connsiteX4" fmla="*/ 219551 w 219551"/>
                <a:gd name="connsiteY4" fmla="*/ 272415 h 544829"/>
                <a:gd name="connsiteX5" fmla="*/ 15240 w 219551"/>
                <a:gd name="connsiteY5" fmla="*/ 0 h 544829"/>
                <a:gd name="connsiteX6" fmla="*/ 0 w 219551"/>
                <a:gd name="connsiteY6" fmla="*/ 11430 h 54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551" h="544829">
                  <a:moveTo>
                    <a:pt x="0" y="11430"/>
                  </a:moveTo>
                  <a:lnTo>
                    <a:pt x="195739" y="272415"/>
                  </a:lnTo>
                  <a:lnTo>
                    <a:pt x="0" y="533400"/>
                  </a:lnTo>
                  <a:lnTo>
                    <a:pt x="15240" y="544830"/>
                  </a:lnTo>
                  <a:lnTo>
                    <a:pt x="219551" y="272415"/>
                  </a:lnTo>
                  <a:lnTo>
                    <a:pt x="15240" y="0"/>
                  </a:lnTo>
                  <a:lnTo>
                    <a:pt x="0" y="11430"/>
                  </a:lnTo>
                  <a:close/>
                </a:path>
              </a:pathLst>
            </a:custGeom>
            <a:grpFill/>
            <a:ln w="6350" cap="flat">
              <a:solidFill>
                <a:schemeClr val="accent4"/>
              </a:solid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2047"/>
                </a:solidFill>
                <a:effectLst/>
                <a:uLnTx/>
                <a:uFillTx/>
                <a:latin typeface="Calibri" panose="020F0502020204030204"/>
                <a:ea typeface="+mn-ea"/>
                <a:cs typeface="+mn-cs"/>
              </a:endParaRPr>
            </a:p>
          </p:txBody>
        </p:sp>
      </p:grpSp>
      <p:grpSp>
        <p:nvGrpSpPr>
          <p:cNvPr id="82" name="Graphic 10" descr="Chevron arrows outline">
            <a:extLst>
              <a:ext uri="{FF2B5EF4-FFF2-40B4-BE49-F238E27FC236}">
                <a16:creationId xmlns:a16="http://schemas.microsoft.com/office/drawing/2014/main" id="{193D3CBD-53B1-494F-B3A8-3C404B5CE571}"/>
              </a:ext>
            </a:extLst>
          </p:cNvPr>
          <p:cNvGrpSpPr>
            <a:grpSpLocks noChangeAspect="1"/>
          </p:cNvGrpSpPr>
          <p:nvPr/>
        </p:nvGrpSpPr>
        <p:grpSpPr>
          <a:xfrm>
            <a:off x="707600" y="5420231"/>
            <a:ext cx="97536" cy="97536"/>
            <a:chOff x="4240529" y="2299334"/>
            <a:chExt cx="448152" cy="544829"/>
          </a:xfrm>
          <a:solidFill>
            <a:schemeClr val="accent4"/>
          </a:solidFill>
        </p:grpSpPr>
        <p:sp>
          <p:nvSpPr>
            <p:cNvPr id="83" name="Freeform: Shape 82">
              <a:extLst>
                <a:ext uri="{FF2B5EF4-FFF2-40B4-BE49-F238E27FC236}">
                  <a16:creationId xmlns:a16="http://schemas.microsoft.com/office/drawing/2014/main" id="{E07C2310-F910-44DA-9B44-EE047AC95515}"/>
                </a:ext>
              </a:extLst>
            </p:cNvPr>
            <p:cNvSpPr/>
            <p:nvPr/>
          </p:nvSpPr>
          <p:spPr>
            <a:xfrm>
              <a:off x="4240529" y="2299334"/>
              <a:ext cx="219551" cy="544829"/>
            </a:xfrm>
            <a:custGeom>
              <a:avLst/>
              <a:gdLst>
                <a:gd name="connsiteX0" fmla="*/ 0 w 219551"/>
                <a:gd name="connsiteY0" fmla="*/ 11430 h 544829"/>
                <a:gd name="connsiteX1" fmla="*/ 195739 w 219551"/>
                <a:gd name="connsiteY1" fmla="*/ 272415 h 544829"/>
                <a:gd name="connsiteX2" fmla="*/ 0 w 219551"/>
                <a:gd name="connsiteY2" fmla="*/ 533400 h 544829"/>
                <a:gd name="connsiteX3" fmla="*/ 15240 w 219551"/>
                <a:gd name="connsiteY3" fmla="*/ 544830 h 544829"/>
                <a:gd name="connsiteX4" fmla="*/ 219551 w 219551"/>
                <a:gd name="connsiteY4" fmla="*/ 272415 h 544829"/>
                <a:gd name="connsiteX5" fmla="*/ 15240 w 219551"/>
                <a:gd name="connsiteY5" fmla="*/ 0 h 544829"/>
                <a:gd name="connsiteX6" fmla="*/ 0 w 219551"/>
                <a:gd name="connsiteY6" fmla="*/ 11430 h 54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551" h="544829">
                  <a:moveTo>
                    <a:pt x="0" y="11430"/>
                  </a:moveTo>
                  <a:lnTo>
                    <a:pt x="195739" y="272415"/>
                  </a:lnTo>
                  <a:lnTo>
                    <a:pt x="0" y="533400"/>
                  </a:lnTo>
                  <a:lnTo>
                    <a:pt x="15240" y="544830"/>
                  </a:lnTo>
                  <a:lnTo>
                    <a:pt x="219551" y="272415"/>
                  </a:lnTo>
                  <a:lnTo>
                    <a:pt x="15240" y="0"/>
                  </a:lnTo>
                  <a:lnTo>
                    <a:pt x="0" y="11430"/>
                  </a:lnTo>
                  <a:close/>
                </a:path>
              </a:pathLst>
            </a:custGeom>
            <a:grpFill/>
            <a:ln w="6350" cap="flat">
              <a:solidFill>
                <a:srgbClr val="C7C8C9"/>
              </a:solid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2047"/>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D6F29DD5-E6C9-4D14-A503-0C9E02BA00A6}"/>
                </a:ext>
              </a:extLst>
            </p:cNvPr>
            <p:cNvSpPr/>
            <p:nvPr/>
          </p:nvSpPr>
          <p:spPr>
            <a:xfrm>
              <a:off x="4469130" y="2299334"/>
              <a:ext cx="219551" cy="544829"/>
            </a:xfrm>
            <a:custGeom>
              <a:avLst/>
              <a:gdLst>
                <a:gd name="connsiteX0" fmla="*/ 0 w 219551"/>
                <a:gd name="connsiteY0" fmla="*/ 11430 h 544829"/>
                <a:gd name="connsiteX1" fmla="*/ 195739 w 219551"/>
                <a:gd name="connsiteY1" fmla="*/ 272415 h 544829"/>
                <a:gd name="connsiteX2" fmla="*/ 0 w 219551"/>
                <a:gd name="connsiteY2" fmla="*/ 533400 h 544829"/>
                <a:gd name="connsiteX3" fmla="*/ 15240 w 219551"/>
                <a:gd name="connsiteY3" fmla="*/ 544830 h 544829"/>
                <a:gd name="connsiteX4" fmla="*/ 219551 w 219551"/>
                <a:gd name="connsiteY4" fmla="*/ 272415 h 544829"/>
                <a:gd name="connsiteX5" fmla="*/ 15240 w 219551"/>
                <a:gd name="connsiteY5" fmla="*/ 0 h 544829"/>
                <a:gd name="connsiteX6" fmla="*/ 0 w 219551"/>
                <a:gd name="connsiteY6" fmla="*/ 11430 h 54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551" h="544829">
                  <a:moveTo>
                    <a:pt x="0" y="11430"/>
                  </a:moveTo>
                  <a:lnTo>
                    <a:pt x="195739" y="272415"/>
                  </a:lnTo>
                  <a:lnTo>
                    <a:pt x="0" y="533400"/>
                  </a:lnTo>
                  <a:lnTo>
                    <a:pt x="15240" y="544830"/>
                  </a:lnTo>
                  <a:lnTo>
                    <a:pt x="219551" y="272415"/>
                  </a:lnTo>
                  <a:lnTo>
                    <a:pt x="15240" y="0"/>
                  </a:lnTo>
                  <a:lnTo>
                    <a:pt x="0" y="11430"/>
                  </a:lnTo>
                  <a:close/>
                </a:path>
              </a:pathLst>
            </a:custGeom>
            <a:grpFill/>
            <a:ln w="6350" cap="flat">
              <a:solidFill>
                <a:srgbClr val="C7C8C9"/>
              </a:solid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F2047"/>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8973D488-FA4F-4F71-864C-B0CD9B717A15}"/>
              </a:ext>
            </a:extLst>
          </p:cNvPr>
          <p:cNvPicPr>
            <a:picLocks noChangeAspect="1"/>
          </p:cNvPicPr>
          <p:nvPr/>
        </p:nvPicPr>
        <p:blipFill>
          <a:blip r:embed="rId2"/>
          <a:srcRect/>
          <a:stretch/>
        </p:blipFill>
        <p:spPr>
          <a:xfrm>
            <a:off x="6456186" y="-1"/>
            <a:ext cx="5734039" cy="5041461"/>
          </a:xfrm>
          <a:prstGeom prst="rect">
            <a:avLst/>
          </a:prstGeom>
        </p:spPr>
      </p:pic>
      <p:sp>
        <p:nvSpPr>
          <p:cNvPr id="46" name="TextBox 45">
            <a:extLst>
              <a:ext uri="{FF2B5EF4-FFF2-40B4-BE49-F238E27FC236}">
                <a16:creationId xmlns:a16="http://schemas.microsoft.com/office/drawing/2014/main" id="{2081EAB2-C0AA-46AC-B4CF-F231657C93EA}"/>
              </a:ext>
            </a:extLst>
          </p:cNvPr>
          <p:cNvSpPr txBox="1"/>
          <p:nvPr/>
        </p:nvSpPr>
        <p:spPr>
          <a:xfrm>
            <a:off x="8621607" y="826388"/>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Norway</a:t>
            </a:r>
          </a:p>
        </p:txBody>
      </p:sp>
      <p:sp>
        <p:nvSpPr>
          <p:cNvPr id="47" name="TextBox 46">
            <a:extLst>
              <a:ext uri="{FF2B5EF4-FFF2-40B4-BE49-F238E27FC236}">
                <a16:creationId xmlns:a16="http://schemas.microsoft.com/office/drawing/2014/main" id="{7CB11F88-096F-4A50-9461-A609DA34B301}"/>
              </a:ext>
            </a:extLst>
          </p:cNvPr>
          <p:cNvSpPr txBox="1"/>
          <p:nvPr/>
        </p:nvSpPr>
        <p:spPr>
          <a:xfrm>
            <a:off x="8288088" y="2046460"/>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UK</a:t>
            </a:r>
          </a:p>
        </p:txBody>
      </p:sp>
      <p:sp>
        <p:nvSpPr>
          <p:cNvPr id="50" name="TextBox 49">
            <a:extLst>
              <a:ext uri="{FF2B5EF4-FFF2-40B4-BE49-F238E27FC236}">
                <a16:creationId xmlns:a16="http://schemas.microsoft.com/office/drawing/2014/main" id="{F42B59A3-AB56-4373-ADB4-068BDF671DCE}"/>
              </a:ext>
            </a:extLst>
          </p:cNvPr>
          <p:cNvSpPr txBox="1"/>
          <p:nvPr/>
        </p:nvSpPr>
        <p:spPr>
          <a:xfrm>
            <a:off x="10428651" y="3979127"/>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Greece</a:t>
            </a:r>
          </a:p>
        </p:txBody>
      </p:sp>
      <p:sp>
        <p:nvSpPr>
          <p:cNvPr id="64" name="TextBox 63">
            <a:extLst>
              <a:ext uri="{FF2B5EF4-FFF2-40B4-BE49-F238E27FC236}">
                <a16:creationId xmlns:a16="http://schemas.microsoft.com/office/drawing/2014/main" id="{A2B5F5E6-4CAE-4BC2-B4A3-5C6DC046C052}"/>
              </a:ext>
            </a:extLst>
          </p:cNvPr>
          <p:cNvSpPr txBox="1"/>
          <p:nvPr/>
        </p:nvSpPr>
        <p:spPr>
          <a:xfrm>
            <a:off x="9607691" y="1900156"/>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Denmark</a:t>
            </a:r>
          </a:p>
        </p:txBody>
      </p:sp>
      <p:sp>
        <p:nvSpPr>
          <p:cNvPr id="42" name="TextBox 41">
            <a:extLst>
              <a:ext uri="{FF2B5EF4-FFF2-40B4-BE49-F238E27FC236}">
                <a16:creationId xmlns:a16="http://schemas.microsoft.com/office/drawing/2014/main" id="{8F21C6EF-28A3-45E5-992B-61DF5C02BF01}"/>
              </a:ext>
            </a:extLst>
          </p:cNvPr>
          <p:cNvSpPr txBox="1"/>
          <p:nvPr/>
        </p:nvSpPr>
        <p:spPr>
          <a:xfrm>
            <a:off x="8502245" y="4595947"/>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Spain</a:t>
            </a:r>
          </a:p>
        </p:txBody>
      </p:sp>
      <p:sp>
        <p:nvSpPr>
          <p:cNvPr id="34" name="Oval 33">
            <a:extLst>
              <a:ext uri="{FF2B5EF4-FFF2-40B4-BE49-F238E27FC236}">
                <a16:creationId xmlns:a16="http://schemas.microsoft.com/office/drawing/2014/main" id="{5F3325EC-83CE-41D2-9ADE-48704ECA059D}"/>
              </a:ext>
            </a:extLst>
          </p:cNvPr>
          <p:cNvSpPr/>
          <p:nvPr/>
        </p:nvSpPr>
        <p:spPr>
          <a:xfrm>
            <a:off x="9022184" y="5244174"/>
            <a:ext cx="173073" cy="1730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94DC69B4-FECC-4CF8-8F75-0AA17AA53FD5}"/>
              </a:ext>
            </a:extLst>
          </p:cNvPr>
          <p:cNvSpPr txBox="1"/>
          <p:nvPr/>
        </p:nvSpPr>
        <p:spPr>
          <a:xfrm>
            <a:off x="9282155" y="5251589"/>
            <a:ext cx="2024015" cy="158240"/>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srgbClr val="FFFFFF"/>
                </a:solidFill>
                <a:effectLst/>
                <a:uLnTx/>
                <a:uFillTx/>
                <a:latin typeface="Calibri" panose="020F0502020204030204"/>
                <a:ea typeface="+mn-ea"/>
                <a:cs typeface="+mn-cs"/>
              </a:rPr>
              <a:t>Primary markets and locations</a:t>
            </a:r>
          </a:p>
        </p:txBody>
      </p:sp>
      <p:sp>
        <p:nvSpPr>
          <p:cNvPr id="45" name="TextBox 44">
            <a:extLst>
              <a:ext uri="{FF2B5EF4-FFF2-40B4-BE49-F238E27FC236}">
                <a16:creationId xmlns:a16="http://schemas.microsoft.com/office/drawing/2014/main" id="{8F70F249-3163-4C4B-9E8D-63471DBAB512}"/>
              </a:ext>
            </a:extLst>
          </p:cNvPr>
          <p:cNvSpPr txBox="1"/>
          <p:nvPr/>
        </p:nvSpPr>
        <p:spPr>
          <a:xfrm>
            <a:off x="8202061" y="3227400"/>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Netherlands</a:t>
            </a:r>
          </a:p>
        </p:txBody>
      </p:sp>
      <p:sp>
        <p:nvSpPr>
          <p:cNvPr id="49" name="TextBox 48">
            <a:extLst>
              <a:ext uri="{FF2B5EF4-FFF2-40B4-BE49-F238E27FC236}">
                <a16:creationId xmlns:a16="http://schemas.microsoft.com/office/drawing/2014/main" id="{C44F5D4A-A871-4089-A624-42B06CF74625}"/>
              </a:ext>
            </a:extLst>
          </p:cNvPr>
          <p:cNvSpPr txBox="1"/>
          <p:nvPr/>
        </p:nvSpPr>
        <p:spPr>
          <a:xfrm>
            <a:off x="8268619" y="3371864"/>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Belgium</a:t>
            </a:r>
          </a:p>
        </p:txBody>
      </p:sp>
      <p:sp>
        <p:nvSpPr>
          <p:cNvPr id="51" name="TextBox 50">
            <a:extLst>
              <a:ext uri="{FF2B5EF4-FFF2-40B4-BE49-F238E27FC236}">
                <a16:creationId xmlns:a16="http://schemas.microsoft.com/office/drawing/2014/main" id="{BB9252C4-2207-4533-B17E-027DFAC317BC}"/>
              </a:ext>
            </a:extLst>
          </p:cNvPr>
          <p:cNvSpPr txBox="1"/>
          <p:nvPr/>
        </p:nvSpPr>
        <p:spPr>
          <a:xfrm>
            <a:off x="8551439" y="3511945"/>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Luxembourg</a:t>
            </a:r>
          </a:p>
        </p:txBody>
      </p:sp>
      <p:cxnSp>
        <p:nvCxnSpPr>
          <p:cNvPr id="52" name="Straight Connector 51">
            <a:extLst>
              <a:ext uri="{FF2B5EF4-FFF2-40B4-BE49-F238E27FC236}">
                <a16:creationId xmlns:a16="http://schemas.microsoft.com/office/drawing/2014/main" id="{757598B2-A5D6-4F27-856B-A75EF0B21A4E}"/>
              </a:ext>
            </a:extLst>
          </p:cNvPr>
          <p:cNvCxnSpPr>
            <a:cxnSpLocks/>
          </p:cNvCxnSpPr>
          <p:nvPr/>
        </p:nvCxnSpPr>
        <p:spPr>
          <a:xfrm flipV="1">
            <a:off x="8921278" y="3143161"/>
            <a:ext cx="181421" cy="280649"/>
          </a:xfrm>
          <a:prstGeom prst="line">
            <a:avLst/>
          </a:prstGeom>
          <a:ln w="317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TextBox 52">
            <a:extLst>
              <a:ext uri="{FF2B5EF4-FFF2-40B4-BE49-F238E27FC236}">
                <a16:creationId xmlns:a16="http://schemas.microsoft.com/office/drawing/2014/main" id="{B3EFF350-0123-4CF6-803A-43BC3DD627D5}"/>
              </a:ext>
            </a:extLst>
          </p:cNvPr>
          <p:cNvSpPr txBox="1"/>
          <p:nvPr/>
        </p:nvSpPr>
        <p:spPr>
          <a:xfrm>
            <a:off x="9719749" y="3157713"/>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Poland</a:t>
            </a:r>
          </a:p>
        </p:txBody>
      </p:sp>
      <p:sp>
        <p:nvSpPr>
          <p:cNvPr id="54" name="TextBox 53">
            <a:extLst>
              <a:ext uri="{FF2B5EF4-FFF2-40B4-BE49-F238E27FC236}">
                <a16:creationId xmlns:a16="http://schemas.microsoft.com/office/drawing/2014/main" id="{E860762A-41E9-4F04-8F2D-7597BF9A3F7E}"/>
              </a:ext>
            </a:extLst>
          </p:cNvPr>
          <p:cNvSpPr txBox="1"/>
          <p:nvPr/>
        </p:nvSpPr>
        <p:spPr>
          <a:xfrm>
            <a:off x="11051307" y="1791919"/>
            <a:ext cx="820960" cy="146304"/>
          </a:xfrm>
          <a:prstGeom prst="rect">
            <a:avLst/>
          </a:prstGeom>
          <a:noFill/>
        </p:spPr>
        <p:txBody>
          <a:bodyPr wrap="square" lIns="0" tIns="0" rIns="0" bIns="0" rtlCol="0">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Calibri" panose="020F0502020204030204"/>
                <a:ea typeface="+mn-ea"/>
                <a:cs typeface="+mn-cs"/>
              </a:rPr>
              <a:t>Vietnam</a:t>
            </a:r>
          </a:p>
        </p:txBody>
      </p:sp>
      <p:cxnSp>
        <p:nvCxnSpPr>
          <p:cNvPr id="14" name="Straight Connector 13">
            <a:extLst>
              <a:ext uri="{FF2B5EF4-FFF2-40B4-BE49-F238E27FC236}">
                <a16:creationId xmlns:a16="http://schemas.microsoft.com/office/drawing/2014/main" id="{51F285F8-A712-40F7-833F-22BFAA1BB147}"/>
              </a:ext>
            </a:extLst>
          </p:cNvPr>
          <p:cNvCxnSpPr>
            <a:cxnSpLocks/>
          </p:cNvCxnSpPr>
          <p:nvPr/>
        </p:nvCxnSpPr>
        <p:spPr>
          <a:xfrm>
            <a:off x="894196" y="5577645"/>
            <a:ext cx="6535305" cy="0"/>
          </a:xfrm>
          <a:prstGeom prst="line">
            <a:avLst/>
          </a:prstGeom>
          <a:ln w="3175">
            <a:solidFill>
              <a:srgbClr val="FFFFFF">
                <a:alpha val="1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4854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785DB6-32D3-6DB1-3749-D585785DDD30}"/>
              </a:ext>
            </a:extLst>
          </p:cNvPr>
          <p:cNvPicPr>
            <a:picLocks noChangeAspect="1"/>
          </p:cNvPicPr>
          <p:nvPr/>
        </p:nvPicPr>
        <p:blipFill rotWithShape="1">
          <a:blip r:embed="rId4"/>
          <a:srcRect t="50480"/>
          <a:stretch/>
        </p:blipFill>
        <p:spPr>
          <a:xfrm>
            <a:off x="79586" y="1385455"/>
            <a:ext cx="9289489" cy="4859113"/>
          </a:xfrm>
          <a:prstGeom prst="rect">
            <a:avLst/>
          </a:prstGeom>
        </p:spPr>
      </p:pic>
      <p:sp>
        <p:nvSpPr>
          <p:cNvPr id="5" name="Title 4">
            <a:extLst>
              <a:ext uri="{FF2B5EF4-FFF2-40B4-BE49-F238E27FC236}">
                <a16:creationId xmlns:a16="http://schemas.microsoft.com/office/drawing/2014/main" id="{8BDA2784-7C48-A24D-018C-0CE0B68F655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6" name="Picture 5">
            <a:extLst>
              <a:ext uri="{FF2B5EF4-FFF2-40B4-BE49-F238E27FC236}">
                <a16:creationId xmlns:a16="http://schemas.microsoft.com/office/drawing/2014/main" id="{6967D114-5287-A1F8-EAF9-AA29D9675A6F}"/>
              </a:ext>
            </a:extLst>
          </p:cNvPr>
          <p:cNvPicPr>
            <a:picLocks noChangeAspect="1"/>
          </p:cNvPicPr>
          <p:nvPr/>
        </p:nvPicPr>
        <p:blipFill>
          <a:blip r:embed="rId5"/>
          <a:stretch>
            <a:fillRect/>
          </a:stretch>
        </p:blipFill>
        <p:spPr>
          <a:xfrm>
            <a:off x="9369075" y="0"/>
            <a:ext cx="2822925" cy="6858000"/>
          </a:xfrm>
          <a:prstGeom prst="rect">
            <a:avLst/>
          </a:prstGeom>
        </p:spPr>
      </p:pic>
    </p:spTree>
    <p:custDataLst>
      <p:tags r:id="rId1"/>
    </p:custDataLst>
    <p:extLst>
      <p:ext uri="{BB962C8B-B14F-4D97-AF65-F5344CB8AC3E}">
        <p14:creationId xmlns:p14="http://schemas.microsoft.com/office/powerpoint/2010/main" val="3931992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785DB6-32D3-6DB1-3749-D585785DDD30}"/>
              </a:ext>
            </a:extLst>
          </p:cNvPr>
          <p:cNvPicPr>
            <a:picLocks noChangeAspect="1"/>
          </p:cNvPicPr>
          <p:nvPr/>
        </p:nvPicPr>
        <p:blipFill rotWithShape="1">
          <a:blip r:embed="rId4">
            <a:extLst>
              <a:ext uri="{28A0092B-C50C-407E-A947-70E740481C1C}">
                <a14:useLocalDpi xmlns:a14="http://schemas.microsoft.com/office/drawing/2010/main" val="0"/>
              </a:ext>
            </a:extLst>
          </a:blip>
          <a:srcRect t="175" b="34279"/>
          <a:stretch/>
        </p:blipFill>
        <p:spPr>
          <a:xfrm>
            <a:off x="79586" y="1582850"/>
            <a:ext cx="9289489" cy="4757513"/>
          </a:xfrm>
          <a:prstGeom prst="rect">
            <a:avLst/>
          </a:prstGeom>
        </p:spPr>
      </p:pic>
      <p:sp>
        <p:nvSpPr>
          <p:cNvPr id="5" name="Title 4">
            <a:extLst>
              <a:ext uri="{FF2B5EF4-FFF2-40B4-BE49-F238E27FC236}">
                <a16:creationId xmlns:a16="http://schemas.microsoft.com/office/drawing/2014/main" id="{4F2B46D5-9CA2-6531-C9E4-EA9FF5332CB9}"/>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6" name="Picture 5">
            <a:extLst>
              <a:ext uri="{FF2B5EF4-FFF2-40B4-BE49-F238E27FC236}">
                <a16:creationId xmlns:a16="http://schemas.microsoft.com/office/drawing/2014/main" id="{2CE5D02B-9253-F6F0-0238-4675C9C6BF5E}"/>
              </a:ext>
            </a:extLst>
          </p:cNvPr>
          <p:cNvPicPr>
            <a:picLocks noChangeAspect="1"/>
          </p:cNvPicPr>
          <p:nvPr/>
        </p:nvPicPr>
        <p:blipFill>
          <a:blip r:embed="rId5"/>
          <a:stretch>
            <a:fillRect/>
          </a:stretch>
        </p:blipFill>
        <p:spPr>
          <a:xfrm>
            <a:off x="9369075" y="0"/>
            <a:ext cx="2822925" cy="6858000"/>
          </a:xfrm>
          <a:prstGeom prst="rect">
            <a:avLst/>
          </a:prstGeom>
        </p:spPr>
      </p:pic>
    </p:spTree>
    <p:custDataLst>
      <p:tags r:id="rId1"/>
    </p:custDataLst>
    <p:extLst>
      <p:ext uri="{BB962C8B-B14F-4D97-AF65-F5344CB8AC3E}">
        <p14:creationId xmlns:p14="http://schemas.microsoft.com/office/powerpoint/2010/main" val="2352795897"/>
      </p:ext>
    </p:extLst>
  </p:cSld>
  <p:clrMapOvr>
    <a:masterClrMapping/>
  </p:clrMapOvr>
  <p:transition spd="slow">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785DB6-32D3-6DB1-3749-D585785DDD30}"/>
              </a:ext>
            </a:extLst>
          </p:cNvPr>
          <p:cNvPicPr>
            <a:picLocks noChangeAspect="1"/>
          </p:cNvPicPr>
          <p:nvPr/>
        </p:nvPicPr>
        <p:blipFill rotWithShape="1">
          <a:blip r:embed="rId4">
            <a:extLst>
              <a:ext uri="{28A0092B-C50C-407E-A947-70E740481C1C}">
                <a14:useLocalDpi xmlns:a14="http://schemas.microsoft.com/office/drawing/2010/main" val="0"/>
              </a:ext>
            </a:extLst>
          </a:blip>
          <a:srcRect t="49087" r="18771" b="1"/>
          <a:stretch/>
        </p:blipFill>
        <p:spPr>
          <a:xfrm>
            <a:off x="154485" y="1459346"/>
            <a:ext cx="9486794" cy="4645890"/>
          </a:xfrm>
          <a:prstGeom prst="rect">
            <a:avLst/>
          </a:prstGeom>
        </p:spPr>
      </p:pic>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The case study</a:t>
            </a:r>
          </a:p>
        </p:txBody>
      </p:sp>
      <p:pic>
        <p:nvPicPr>
          <p:cNvPr id="6" name="Picture 5">
            <a:extLst>
              <a:ext uri="{FF2B5EF4-FFF2-40B4-BE49-F238E27FC236}">
                <a16:creationId xmlns:a16="http://schemas.microsoft.com/office/drawing/2014/main" id="{C4C13198-D401-4BC7-7E4B-1348275BF0E4}"/>
              </a:ext>
            </a:extLst>
          </p:cNvPr>
          <p:cNvPicPr>
            <a:picLocks noChangeAspect="1"/>
          </p:cNvPicPr>
          <p:nvPr/>
        </p:nvPicPr>
        <p:blipFill>
          <a:blip r:embed="rId5"/>
          <a:stretch>
            <a:fillRect/>
          </a:stretch>
        </p:blipFill>
        <p:spPr>
          <a:xfrm>
            <a:off x="9369075" y="0"/>
            <a:ext cx="2822925" cy="6858000"/>
          </a:xfrm>
          <a:prstGeom prst="rect">
            <a:avLst/>
          </a:prstGeom>
        </p:spPr>
      </p:pic>
    </p:spTree>
    <p:custDataLst>
      <p:tags r:id="rId1"/>
    </p:custDataLst>
    <p:extLst>
      <p:ext uri="{BB962C8B-B14F-4D97-AF65-F5344CB8AC3E}">
        <p14:creationId xmlns:p14="http://schemas.microsoft.com/office/powerpoint/2010/main" val="2879408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408BE5-8F7E-55E3-7EE2-E11316895C59}"/>
              </a:ext>
            </a:extLst>
          </p:cNvPr>
          <p:cNvSpPr>
            <a:spLocks noGrp="1"/>
          </p:cNvSpPr>
          <p:nvPr>
            <p:ph type="title"/>
          </p:nvPr>
        </p:nvSpPr>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Conclusion</a:t>
            </a:r>
          </a:p>
        </p:txBody>
      </p:sp>
      <p:sp>
        <p:nvSpPr>
          <p:cNvPr id="2" name="Text Placeholder 1">
            <a:extLst>
              <a:ext uri="{FF2B5EF4-FFF2-40B4-BE49-F238E27FC236}">
                <a16:creationId xmlns:a16="http://schemas.microsoft.com/office/drawing/2014/main" id="{61802421-BBAF-FA0A-EA37-F2F4B389E3EE}"/>
              </a:ext>
            </a:extLst>
          </p:cNvPr>
          <p:cNvSpPr>
            <a:spLocks noGrp="1"/>
          </p:cNvSpPr>
          <p:nvPr>
            <p:ph type="body" sz="quarter" idx="12"/>
          </p:nvPr>
        </p:nvSpPr>
        <p:spPr/>
        <p:txBody>
          <a:bodyPr/>
          <a:lstStyle/>
          <a:p>
            <a:pPr indent="401638">
              <a:lnSpc>
                <a:spcPct val="150000"/>
              </a:lnSpc>
            </a:pPr>
            <a:r>
              <a:rPr lang="en-US" sz="2800"/>
              <a:t>Easier for both teams work concurrently.</a:t>
            </a:r>
          </a:p>
          <a:p>
            <a:pPr indent="401638">
              <a:lnSpc>
                <a:spcPct val="150000"/>
              </a:lnSpc>
            </a:pPr>
            <a:r>
              <a:rPr lang="en-US" sz="2800"/>
              <a:t>Easier to reuse the controller logic for multiple views</a:t>
            </a:r>
          </a:p>
          <a:p>
            <a:pPr indent="401638">
              <a:lnSpc>
                <a:spcPct val="150000"/>
              </a:lnSpc>
            </a:pPr>
            <a:r>
              <a:rPr lang="en-US" sz="2800"/>
              <a:t>Easier to comprehend</a:t>
            </a:r>
          </a:p>
          <a:p>
            <a:pPr indent="401638">
              <a:lnSpc>
                <a:spcPct val="150000"/>
              </a:lnSpc>
            </a:pPr>
            <a:r>
              <a:rPr lang="en-US" sz="2800"/>
              <a:t>Needed to change the mindset when coding Controller and View</a:t>
            </a:r>
          </a:p>
          <a:p>
            <a:pPr indent="401638">
              <a:lnSpc>
                <a:spcPct val="150000"/>
              </a:lnSpc>
            </a:pPr>
            <a:r>
              <a:rPr lang="en-US" sz="2800"/>
              <a:t>More complicated in the core layer of the project</a:t>
            </a:r>
          </a:p>
        </p:txBody>
      </p:sp>
    </p:spTree>
    <p:extLst>
      <p:ext uri="{BB962C8B-B14F-4D97-AF65-F5344CB8AC3E}">
        <p14:creationId xmlns:p14="http://schemas.microsoft.com/office/powerpoint/2010/main" val="208265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1000"/>
                                        <p:tgtEl>
                                          <p:spTgt spid="2">
                                            <p:txEl>
                                              <p:pRg st="1" end="1"/>
                                            </p:txEl>
                                          </p:spTgt>
                                        </p:tgtEl>
                                      </p:cBhvr>
                                    </p:animEffect>
                                    <p:anim calcmode="lin" valueType="num">
                                      <p:cBhvr>
                                        <p:cTn id="15"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Effect transition="in" filter="fade">
                                      <p:cBhvr>
                                        <p:cTn id="21" dur="1000"/>
                                        <p:tgtEl>
                                          <p:spTgt spid="2">
                                            <p:txEl>
                                              <p:pRg st="2" end="2"/>
                                            </p:txEl>
                                          </p:spTgt>
                                        </p:tgtEl>
                                      </p:cBhvr>
                                    </p:animEffect>
                                    <p:anim calcmode="lin" valueType="num">
                                      <p:cBhvr>
                                        <p:cTn id="22"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1000"/>
                                        <p:tgtEl>
                                          <p:spTgt spid="2">
                                            <p:txEl>
                                              <p:pRg st="3" end="3"/>
                                            </p:txEl>
                                          </p:spTgt>
                                        </p:tgtEl>
                                      </p:cBhvr>
                                    </p:animEffect>
                                    <p:anim calcmode="lin" valueType="num">
                                      <p:cBhvr>
                                        <p:cTn id="29"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
                                            <p:txEl>
                                              <p:pRg st="4" end="4"/>
                                            </p:txEl>
                                          </p:spTgt>
                                        </p:tgtEl>
                                        <p:attrNameLst>
                                          <p:attrName>style.visibility</p:attrName>
                                        </p:attrNameLst>
                                      </p:cBhvr>
                                      <p:to>
                                        <p:strVal val="visible"/>
                                      </p:to>
                                    </p:set>
                                    <p:animEffect transition="in" filter="fade">
                                      <p:cBhvr>
                                        <p:cTn id="35" dur="1000"/>
                                        <p:tgtEl>
                                          <p:spTgt spid="2">
                                            <p:txEl>
                                              <p:pRg st="4" end="4"/>
                                            </p:txEl>
                                          </p:spTgt>
                                        </p:tgtEl>
                                      </p:cBhvr>
                                    </p:animEffect>
                                    <p:anim calcmode="lin" valueType="num">
                                      <p:cBhvr>
                                        <p:cTn id="36"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go for a company&#10;&#10;Description automatically generated with low confidence">
            <a:extLst>
              <a:ext uri="{FF2B5EF4-FFF2-40B4-BE49-F238E27FC236}">
                <a16:creationId xmlns:a16="http://schemas.microsoft.com/office/drawing/2014/main" id="{0E463DAD-3091-A1BF-0019-DE5D70AE21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499754"/>
            <a:ext cx="3933825" cy="2971800"/>
          </a:xfrm>
          <a:prstGeom prst="rect">
            <a:avLst/>
          </a:prstGeom>
        </p:spPr>
      </p:pic>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8" name="Picture 7">
            <a:extLst>
              <a:ext uri="{FF2B5EF4-FFF2-40B4-BE49-F238E27FC236}">
                <a16:creationId xmlns:a16="http://schemas.microsoft.com/office/drawing/2014/main" id="{13D6D9A5-8204-CF52-CDAF-B2A64BFDB138}"/>
              </a:ext>
            </a:extLst>
          </p:cNvPr>
          <p:cNvPicPr>
            <a:picLocks noChangeAspect="1"/>
          </p:cNvPicPr>
          <p:nvPr/>
        </p:nvPicPr>
        <p:blipFill rotWithShape="1">
          <a:blip r:embed="rId5"/>
          <a:srcRect b="11141"/>
          <a:stretch/>
        </p:blipFill>
        <p:spPr>
          <a:xfrm>
            <a:off x="3195843" y="2931138"/>
            <a:ext cx="8743950" cy="3080831"/>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ED6DBBD5-8792-CB7C-079B-3851E510F4B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2506" y="330450"/>
            <a:ext cx="2943636" cy="2600688"/>
          </a:xfrm>
          <a:prstGeom prst="rect">
            <a:avLst/>
          </a:prstGeom>
        </p:spPr>
      </p:pic>
    </p:spTree>
    <p:custDataLst>
      <p:tags r:id="rId1"/>
    </p:custDataLst>
    <p:extLst>
      <p:ext uri="{BB962C8B-B14F-4D97-AF65-F5344CB8AC3E}">
        <p14:creationId xmlns:p14="http://schemas.microsoft.com/office/powerpoint/2010/main" val="2427216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go for a company&#10;&#10;Description automatically generated with low confidence">
            <a:extLst>
              <a:ext uri="{FF2B5EF4-FFF2-40B4-BE49-F238E27FC236}">
                <a16:creationId xmlns:a16="http://schemas.microsoft.com/office/drawing/2014/main" id="{0E463DAD-3091-A1BF-0019-DE5D70AE21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499754"/>
            <a:ext cx="3933825" cy="2971800"/>
          </a:xfrm>
          <a:prstGeom prst="rect">
            <a:avLst/>
          </a:prstGeom>
        </p:spPr>
      </p:pic>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3" name="Picture 2">
            <a:extLst>
              <a:ext uri="{FF2B5EF4-FFF2-40B4-BE49-F238E27FC236}">
                <a16:creationId xmlns:a16="http://schemas.microsoft.com/office/drawing/2014/main" id="{B65D5D35-342A-2E01-F2FE-FEF5675D47E1}"/>
              </a:ext>
            </a:extLst>
          </p:cNvPr>
          <p:cNvPicPr>
            <a:picLocks noChangeAspect="1"/>
          </p:cNvPicPr>
          <p:nvPr/>
        </p:nvPicPr>
        <p:blipFill>
          <a:blip r:embed="rId5"/>
          <a:stretch>
            <a:fillRect/>
          </a:stretch>
        </p:blipFill>
        <p:spPr>
          <a:xfrm>
            <a:off x="3583424" y="1151408"/>
            <a:ext cx="7870389" cy="5254153"/>
          </a:xfrm>
          <a:prstGeom prst="rect">
            <a:avLst/>
          </a:prstGeom>
        </p:spPr>
      </p:pic>
      <p:sp>
        <p:nvSpPr>
          <p:cNvPr id="2" name="Rectangle 1">
            <a:extLst>
              <a:ext uri="{FF2B5EF4-FFF2-40B4-BE49-F238E27FC236}">
                <a16:creationId xmlns:a16="http://schemas.microsoft.com/office/drawing/2014/main" id="{1C427350-C85D-386B-AA40-637C11C03D7B}"/>
              </a:ext>
            </a:extLst>
          </p:cNvPr>
          <p:cNvSpPr/>
          <p:nvPr/>
        </p:nvSpPr>
        <p:spPr>
          <a:xfrm>
            <a:off x="4969163" y="1342737"/>
            <a:ext cx="5033819"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 name="Rectangle 3">
            <a:extLst>
              <a:ext uri="{FF2B5EF4-FFF2-40B4-BE49-F238E27FC236}">
                <a16:creationId xmlns:a16="http://schemas.microsoft.com/office/drawing/2014/main" id="{108B2953-628F-EA26-FAB1-3B56B228AB5E}"/>
              </a:ext>
            </a:extLst>
          </p:cNvPr>
          <p:cNvSpPr/>
          <p:nvPr/>
        </p:nvSpPr>
        <p:spPr>
          <a:xfrm>
            <a:off x="7703127" y="2344882"/>
            <a:ext cx="2415310"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7" name="Rectangle 6">
            <a:extLst>
              <a:ext uri="{FF2B5EF4-FFF2-40B4-BE49-F238E27FC236}">
                <a16:creationId xmlns:a16="http://schemas.microsoft.com/office/drawing/2014/main" id="{D3CFA1EB-ADD5-9D69-6F41-28AF22689F33}"/>
              </a:ext>
            </a:extLst>
          </p:cNvPr>
          <p:cNvSpPr/>
          <p:nvPr/>
        </p:nvSpPr>
        <p:spPr>
          <a:xfrm>
            <a:off x="7883236" y="3347027"/>
            <a:ext cx="2415310"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8" name="Rectangle 7">
            <a:extLst>
              <a:ext uri="{FF2B5EF4-FFF2-40B4-BE49-F238E27FC236}">
                <a16:creationId xmlns:a16="http://schemas.microsoft.com/office/drawing/2014/main" id="{25739848-852F-CFC8-3C5C-3B2EBB6484D5}"/>
              </a:ext>
            </a:extLst>
          </p:cNvPr>
          <p:cNvSpPr/>
          <p:nvPr/>
        </p:nvSpPr>
        <p:spPr>
          <a:xfrm>
            <a:off x="8063345" y="4349172"/>
            <a:ext cx="2415310"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9" name="Rectangle 8">
            <a:extLst>
              <a:ext uri="{FF2B5EF4-FFF2-40B4-BE49-F238E27FC236}">
                <a16:creationId xmlns:a16="http://schemas.microsoft.com/office/drawing/2014/main" id="{7F1F7ED0-2B8B-4420-FC30-2CBCFBFABA64}"/>
              </a:ext>
            </a:extLst>
          </p:cNvPr>
          <p:cNvSpPr/>
          <p:nvPr/>
        </p:nvSpPr>
        <p:spPr>
          <a:xfrm>
            <a:off x="6203915" y="2117437"/>
            <a:ext cx="4834200"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0" name="Rectangle 9">
            <a:extLst>
              <a:ext uri="{FF2B5EF4-FFF2-40B4-BE49-F238E27FC236}">
                <a16:creationId xmlns:a16="http://schemas.microsoft.com/office/drawing/2014/main" id="{8E545978-991B-D406-D7B8-C70A74B43F1E}"/>
              </a:ext>
            </a:extLst>
          </p:cNvPr>
          <p:cNvSpPr/>
          <p:nvPr/>
        </p:nvSpPr>
        <p:spPr>
          <a:xfrm>
            <a:off x="6203915" y="5342942"/>
            <a:ext cx="1587146"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1" name="Rectangle 10">
            <a:extLst>
              <a:ext uri="{FF2B5EF4-FFF2-40B4-BE49-F238E27FC236}">
                <a16:creationId xmlns:a16="http://schemas.microsoft.com/office/drawing/2014/main" id="{26ED4E98-F208-B595-E80E-0B646BC96CEB}"/>
              </a:ext>
            </a:extLst>
          </p:cNvPr>
          <p:cNvSpPr/>
          <p:nvPr/>
        </p:nvSpPr>
        <p:spPr>
          <a:xfrm>
            <a:off x="6203915" y="5570387"/>
            <a:ext cx="1859430"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2" name="Rectangle 11">
            <a:extLst>
              <a:ext uri="{FF2B5EF4-FFF2-40B4-BE49-F238E27FC236}">
                <a16:creationId xmlns:a16="http://schemas.microsoft.com/office/drawing/2014/main" id="{6C4EF227-F0DF-D361-6FF6-EE7E8CFAB32D}"/>
              </a:ext>
            </a:extLst>
          </p:cNvPr>
          <p:cNvSpPr/>
          <p:nvPr/>
        </p:nvSpPr>
        <p:spPr>
          <a:xfrm>
            <a:off x="6203914" y="5798907"/>
            <a:ext cx="1960371" cy="187971"/>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3470457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P spid="8" grpId="0" animBg="1"/>
      <p:bldP spid="9" grpId="0" animBg="1"/>
      <p:bldP spid="10" grpId="0" animBg="1"/>
      <p:bldP spid="11" grpId="0" animBg="1"/>
      <p:bldP spid="1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14" name="Picture 13" descr="A logo for a company&#10;&#10;Description automatically generated with low confidence">
            <a:extLst>
              <a:ext uri="{FF2B5EF4-FFF2-40B4-BE49-F238E27FC236}">
                <a16:creationId xmlns:a16="http://schemas.microsoft.com/office/drawing/2014/main" id="{A97966D7-1C03-5411-F422-031BDF3E31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635" y="1591462"/>
            <a:ext cx="3177226" cy="1664922"/>
          </a:xfrm>
          <a:prstGeom prst="rect">
            <a:avLst/>
          </a:prstGeom>
        </p:spPr>
      </p:pic>
      <p:pic>
        <p:nvPicPr>
          <p:cNvPr id="3" name="Picture 2" descr="A picture containing text, screenshot, number, font&#10;&#10;Description automatically generated">
            <a:extLst>
              <a:ext uri="{FF2B5EF4-FFF2-40B4-BE49-F238E27FC236}">
                <a16:creationId xmlns:a16="http://schemas.microsoft.com/office/drawing/2014/main" id="{5FA749F6-A69F-5903-34F7-4384956221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19931" y="2906971"/>
            <a:ext cx="6238875" cy="3762375"/>
          </a:xfrm>
          <a:prstGeom prst="rect">
            <a:avLst/>
          </a:prstGeom>
        </p:spPr>
      </p:pic>
      <p:pic>
        <p:nvPicPr>
          <p:cNvPr id="6" name="Picture 5" descr="A screenshot of a computer&#10;&#10;Description automatically generated with medium confidence">
            <a:extLst>
              <a:ext uri="{FF2B5EF4-FFF2-40B4-BE49-F238E27FC236}">
                <a16:creationId xmlns:a16="http://schemas.microsoft.com/office/drawing/2014/main" id="{39785341-1CA8-15DB-E0DF-31A4C06A9BCC}"/>
              </a:ext>
            </a:extLst>
          </p:cNvPr>
          <p:cNvPicPr>
            <a:picLocks noChangeAspect="1"/>
          </p:cNvPicPr>
          <p:nvPr/>
        </p:nvPicPr>
        <p:blipFill rotWithShape="1">
          <a:blip r:embed="rId6">
            <a:extLst>
              <a:ext uri="{28A0092B-C50C-407E-A947-70E740481C1C}">
                <a14:useLocalDpi xmlns:a14="http://schemas.microsoft.com/office/drawing/2010/main" val="0"/>
              </a:ext>
            </a:extLst>
          </a:blip>
          <a:srcRect t="57999"/>
          <a:stretch/>
        </p:blipFill>
        <p:spPr>
          <a:xfrm>
            <a:off x="4491232" y="699796"/>
            <a:ext cx="5563376" cy="2244024"/>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8DA6C418-D7EB-C04D-99F2-123CAE989563}"/>
              </a:ext>
            </a:extLst>
          </p:cNvPr>
          <p:cNvPicPr>
            <a:picLocks noChangeAspect="1"/>
          </p:cNvPicPr>
          <p:nvPr/>
        </p:nvPicPr>
        <p:blipFill rotWithShape="1">
          <a:blip r:embed="rId6">
            <a:extLst>
              <a:ext uri="{28A0092B-C50C-407E-A947-70E740481C1C}">
                <a14:useLocalDpi xmlns:a14="http://schemas.microsoft.com/office/drawing/2010/main" val="0"/>
              </a:ext>
            </a:extLst>
          </a:blip>
          <a:srcRect b="89909"/>
          <a:stretch/>
        </p:blipFill>
        <p:spPr>
          <a:xfrm>
            <a:off x="4491232" y="160661"/>
            <a:ext cx="5563376" cy="539135"/>
          </a:xfrm>
          <a:prstGeom prst="rect">
            <a:avLst/>
          </a:prstGeom>
        </p:spPr>
      </p:pic>
      <p:sp>
        <p:nvSpPr>
          <p:cNvPr id="11" name="Rectangle 10">
            <a:extLst>
              <a:ext uri="{FF2B5EF4-FFF2-40B4-BE49-F238E27FC236}">
                <a16:creationId xmlns:a16="http://schemas.microsoft.com/office/drawing/2014/main" id="{9607D279-0EC8-FFBA-56B9-829A5F07D5D3}"/>
              </a:ext>
            </a:extLst>
          </p:cNvPr>
          <p:cNvSpPr/>
          <p:nvPr/>
        </p:nvSpPr>
        <p:spPr>
          <a:xfrm>
            <a:off x="6315882" y="4465416"/>
            <a:ext cx="3201341" cy="181229"/>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2" name="Rectangle 11">
            <a:extLst>
              <a:ext uri="{FF2B5EF4-FFF2-40B4-BE49-F238E27FC236}">
                <a16:creationId xmlns:a16="http://schemas.microsoft.com/office/drawing/2014/main" id="{8A0D9654-10F6-B8AC-8187-2EB6BB99FF96}"/>
              </a:ext>
            </a:extLst>
          </p:cNvPr>
          <p:cNvSpPr/>
          <p:nvPr/>
        </p:nvSpPr>
        <p:spPr>
          <a:xfrm>
            <a:off x="5945767" y="5995637"/>
            <a:ext cx="3201341" cy="181229"/>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104835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14" name="Picture 13" descr="A logo for a company&#10;&#10;Description automatically generated with low confidence">
            <a:extLst>
              <a:ext uri="{FF2B5EF4-FFF2-40B4-BE49-F238E27FC236}">
                <a16:creationId xmlns:a16="http://schemas.microsoft.com/office/drawing/2014/main" id="{A97966D7-1C03-5411-F422-031BDF3E31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635" y="1591462"/>
            <a:ext cx="3177226" cy="1664922"/>
          </a:xfrm>
          <a:prstGeom prst="rect">
            <a:avLst/>
          </a:prstGeom>
        </p:spPr>
      </p:pic>
      <p:pic>
        <p:nvPicPr>
          <p:cNvPr id="16" name="Picture 15" descr="A screenshot of a computer&#10;&#10;Description automatically generated with medium confidence">
            <a:extLst>
              <a:ext uri="{FF2B5EF4-FFF2-40B4-BE49-F238E27FC236}">
                <a16:creationId xmlns:a16="http://schemas.microsoft.com/office/drawing/2014/main" id="{4E406E7E-82C1-3C35-E4DB-4D140C82F5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3509" y="4380719"/>
            <a:ext cx="4762500" cy="2114550"/>
          </a:xfrm>
          <a:prstGeom prst="rect">
            <a:avLst/>
          </a:prstGeom>
        </p:spPr>
      </p:pic>
      <p:pic>
        <p:nvPicPr>
          <p:cNvPr id="18" name="Picture 17" descr="A screenshot of a computer&#10;&#10;Description automatically generated with medium confidence">
            <a:extLst>
              <a:ext uri="{FF2B5EF4-FFF2-40B4-BE49-F238E27FC236}">
                <a16:creationId xmlns:a16="http://schemas.microsoft.com/office/drawing/2014/main" id="{6F0722AC-55BB-8B08-01C1-F472490BD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1902" y="362731"/>
            <a:ext cx="5885714" cy="3905795"/>
          </a:xfrm>
          <a:prstGeom prst="rect">
            <a:avLst/>
          </a:prstGeom>
        </p:spPr>
      </p:pic>
      <p:sp>
        <p:nvSpPr>
          <p:cNvPr id="19" name="Rectangle 18">
            <a:extLst>
              <a:ext uri="{FF2B5EF4-FFF2-40B4-BE49-F238E27FC236}">
                <a16:creationId xmlns:a16="http://schemas.microsoft.com/office/drawing/2014/main" id="{752504CB-B92D-7D8A-FDEE-6A75EF8182E6}"/>
              </a:ext>
            </a:extLst>
          </p:cNvPr>
          <p:cNvSpPr/>
          <p:nvPr/>
        </p:nvSpPr>
        <p:spPr>
          <a:xfrm>
            <a:off x="6409187" y="3133330"/>
            <a:ext cx="2958747"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3805215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6" name="Picture 5" descr="A picture containing text, font, logo, graphics&#10;&#10;Description automatically generated">
            <a:extLst>
              <a:ext uri="{FF2B5EF4-FFF2-40B4-BE49-F238E27FC236}">
                <a16:creationId xmlns:a16="http://schemas.microsoft.com/office/drawing/2014/main" id="{9A437C78-2829-0D40-D24B-5C21741140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200" y="1364902"/>
            <a:ext cx="3600064" cy="2398135"/>
          </a:xfrm>
          <a:prstGeom prst="rect">
            <a:avLst/>
          </a:prstGeom>
        </p:spPr>
      </p:pic>
      <p:pic>
        <p:nvPicPr>
          <p:cNvPr id="10" name="Picture 9">
            <a:extLst>
              <a:ext uri="{FF2B5EF4-FFF2-40B4-BE49-F238E27FC236}">
                <a16:creationId xmlns:a16="http://schemas.microsoft.com/office/drawing/2014/main" id="{550E5B2D-964F-7D40-43CE-7C12835B8403}"/>
              </a:ext>
            </a:extLst>
          </p:cNvPr>
          <p:cNvPicPr>
            <a:picLocks noChangeAspect="1"/>
          </p:cNvPicPr>
          <p:nvPr/>
        </p:nvPicPr>
        <p:blipFill>
          <a:blip r:embed="rId5"/>
          <a:stretch>
            <a:fillRect/>
          </a:stretch>
        </p:blipFill>
        <p:spPr>
          <a:xfrm>
            <a:off x="4184099" y="1876425"/>
            <a:ext cx="7686675" cy="3105150"/>
          </a:xfrm>
          <a:prstGeom prst="rect">
            <a:avLst/>
          </a:prstGeom>
        </p:spPr>
      </p:pic>
      <p:sp>
        <p:nvSpPr>
          <p:cNvPr id="13" name="Rectangle 12">
            <a:extLst>
              <a:ext uri="{FF2B5EF4-FFF2-40B4-BE49-F238E27FC236}">
                <a16:creationId xmlns:a16="http://schemas.microsoft.com/office/drawing/2014/main" id="{EEAD7B14-A457-2895-19C7-C4209F9F18EC}"/>
              </a:ext>
            </a:extLst>
          </p:cNvPr>
          <p:cNvSpPr/>
          <p:nvPr/>
        </p:nvSpPr>
        <p:spPr>
          <a:xfrm>
            <a:off x="5743605" y="3535592"/>
            <a:ext cx="1758208" cy="355273"/>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5" name="Rectangle 14">
            <a:extLst>
              <a:ext uri="{FF2B5EF4-FFF2-40B4-BE49-F238E27FC236}">
                <a16:creationId xmlns:a16="http://schemas.microsoft.com/office/drawing/2014/main" id="{03DD68EC-863F-AE3D-7D52-60090725FF1A}"/>
              </a:ext>
            </a:extLst>
          </p:cNvPr>
          <p:cNvSpPr/>
          <p:nvPr/>
        </p:nvSpPr>
        <p:spPr>
          <a:xfrm>
            <a:off x="6978355" y="4080946"/>
            <a:ext cx="2389579" cy="491054"/>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2090236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FF0D5D-E4FC-A978-4EC2-4FD003158C7C}"/>
              </a:ext>
            </a:extLst>
          </p:cNvPr>
          <p:cNvSpPr>
            <a:spLocks noGrp="1"/>
          </p:cNvSpPr>
          <p:nvPr>
            <p:ph type="title"/>
          </p:nvPr>
        </p:nvSpPr>
        <p:spPr>
          <a:xfrm>
            <a:off x="711200" y="612775"/>
            <a:ext cx="10742613" cy="452438"/>
          </a:xfrm>
        </p:spPr>
        <p:txBody>
          <a:bodyPr vert="horz">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t>Real world examples</a:t>
            </a:r>
          </a:p>
        </p:txBody>
      </p:sp>
      <p:pic>
        <p:nvPicPr>
          <p:cNvPr id="6" name="Picture 5" descr="A picture containing text, font, logo, graphics&#10;&#10;Description automatically generated">
            <a:extLst>
              <a:ext uri="{FF2B5EF4-FFF2-40B4-BE49-F238E27FC236}">
                <a16:creationId xmlns:a16="http://schemas.microsoft.com/office/drawing/2014/main" id="{9A437C78-2829-0D40-D24B-5C21741140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200" y="1364902"/>
            <a:ext cx="3600064" cy="2398135"/>
          </a:xfrm>
          <a:prstGeom prst="rect">
            <a:avLst/>
          </a:prstGeom>
        </p:spPr>
      </p:pic>
      <p:pic>
        <p:nvPicPr>
          <p:cNvPr id="4" name="Picture 3">
            <a:extLst>
              <a:ext uri="{FF2B5EF4-FFF2-40B4-BE49-F238E27FC236}">
                <a16:creationId xmlns:a16="http://schemas.microsoft.com/office/drawing/2014/main" id="{17FC3DE0-617B-BB6F-AEFB-CCBFAAB2C873}"/>
              </a:ext>
            </a:extLst>
          </p:cNvPr>
          <p:cNvPicPr>
            <a:picLocks noChangeAspect="1"/>
          </p:cNvPicPr>
          <p:nvPr/>
        </p:nvPicPr>
        <p:blipFill>
          <a:blip r:embed="rId5"/>
          <a:stretch>
            <a:fillRect/>
          </a:stretch>
        </p:blipFill>
        <p:spPr>
          <a:xfrm>
            <a:off x="4779002" y="551623"/>
            <a:ext cx="6865602" cy="5693602"/>
          </a:xfrm>
          <a:prstGeom prst="rect">
            <a:avLst/>
          </a:prstGeom>
        </p:spPr>
      </p:pic>
      <p:sp>
        <p:nvSpPr>
          <p:cNvPr id="7" name="Rectangle 6">
            <a:extLst>
              <a:ext uri="{FF2B5EF4-FFF2-40B4-BE49-F238E27FC236}">
                <a16:creationId xmlns:a16="http://schemas.microsoft.com/office/drawing/2014/main" id="{BDB36AAC-33DB-9F47-78BC-54EA6A9FC944}"/>
              </a:ext>
            </a:extLst>
          </p:cNvPr>
          <p:cNvSpPr/>
          <p:nvPr/>
        </p:nvSpPr>
        <p:spPr>
          <a:xfrm>
            <a:off x="4779002" y="1065213"/>
            <a:ext cx="3068043" cy="299689"/>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8" name="Rectangle 7">
            <a:extLst>
              <a:ext uri="{FF2B5EF4-FFF2-40B4-BE49-F238E27FC236}">
                <a16:creationId xmlns:a16="http://schemas.microsoft.com/office/drawing/2014/main" id="{1DBD53C3-BE1C-464E-B424-A9B107BC8516}"/>
              </a:ext>
            </a:extLst>
          </p:cNvPr>
          <p:cNvSpPr/>
          <p:nvPr/>
        </p:nvSpPr>
        <p:spPr>
          <a:xfrm>
            <a:off x="6082506" y="3908655"/>
            <a:ext cx="5033819" cy="227445"/>
          </a:xfrm>
          <a:prstGeom prst="rect">
            <a:avLst/>
          </a:prstGeom>
          <a:solidFill>
            <a:srgbClr val="E36053">
              <a:alpha val="50000"/>
            </a:srgb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custDataLst>
      <p:tags r:id="rId1"/>
    </p:custDataLst>
    <p:extLst>
      <p:ext uri="{BB962C8B-B14F-4D97-AF65-F5344CB8AC3E}">
        <p14:creationId xmlns:p14="http://schemas.microsoft.com/office/powerpoint/2010/main" val="333101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208C54-11B6-4F94-9EB6-F1F190C8990C}"/>
              </a:ext>
            </a:extLst>
          </p:cNvPr>
          <p:cNvSpPr/>
          <p:nvPr/>
        </p:nvSpPr>
        <p:spPr>
          <a:xfrm>
            <a:off x="6088993" y="0"/>
            <a:ext cx="6103007" cy="6858000"/>
          </a:xfrm>
          <a:prstGeom prst="rect">
            <a:avLst/>
          </a:prstGeom>
          <a:solidFill>
            <a:srgbClr val="0F2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da-DK" sz="2400"/>
          </a:p>
        </p:txBody>
      </p:sp>
      <p:sp>
        <p:nvSpPr>
          <p:cNvPr id="4" name="object 4">
            <a:extLst>
              <a:ext uri="{FF2B5EF4-FFF2-40B4-BE49-F238E27FC236}">
                <a16:creationId xmlns:a16="http://schemas.microsoft.com/office/drawing/2014/main" id="{F7244CEE-879F-4509-9E47-53CF76CBBF5C}"/>
              </a:ext>
            </a:extLst>
          </p:cNvPr>
          <p:cNvSpPr/>
          <p:nvPr/>
        </p:nvSpPr>
        <p:spPr>
          <a:xfrm>
            <a:off x="1471777" y="3403532"/>
            <a:ext cx="160019" cy="0"/>
          </a:xfrm>
          <a:custGeom>
            <a:avLst/>
            <a:gdLst/>
            <a:ahLst/>
            <a:cxnLst/>
            <a:rect l="l" t="t" r="r" b="b"/>
            <a:pathLst>
              <a:path w="120015">
                <a:moveTo>
                  <a:pt x="0" y="0"/>
                </a:moveTo>
                <a:lnTo>
                  <a:pt x="119773" y="0"/>
                </a:lnTo>
              </a:path>
            </a:pathLst>
          </a:custGeom>
          <a:ln w="20243">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5" name="object 5">
            <a:extLst>
              <a:ext uri="{FF2B5EF4-FFF2-40B4-BE49-F238E27FC236}">
                <a16:creationId xmlns:a16="http://schemas.microsoft.com/office/drawing/2014/main" id="{1DB84F44-2930-4416-BDAE-58C22864DFB6}"/>
              </a:ext>
            </a:extLst>
          </p:cNvPr>
          <p:cNvSpPr txBox="1"/>
          <p:nvPr/>
        </p:nvSpPr>
        <p:spPr>
          <a:xfrm>
            <a:off x="1454850" y="3608419"/>
            <a:ext cx="3123353" cy="1470488"/>
          </a:xfrm>
          <a:prstGeom prst="rect">
            <a:avLst/>
          </a:prstGeom>
        </p:spPr>
        <p:txBody>
          <a:bodyPr vert="horz" wrap="square" lIns="0" tIns="16933"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6933" marR="211661">
              <a:spcBef>
                <a:spcPts val="133"/>
              </a:spcBef>
            </a:pPr>
            <a:r>
              <a:rPr sz="1333" spc="-20">
                <a:solidFill>
                  <a:srgbClr val="0F2147"/>
                </a:solidFill>
                <a:latin typeface="Calibri"/>
                <a:cs typeface="Calibri"/>
              </a:rPr>
              <a:t>We </a:t>
            </a:r>
            <a:r>
              <a:rPr sz="1333" spc="-7">
                <a:solidFill>
                  <a:srgbClr val="0F2147"/>
                </a:solidFill>
                <a:latin typeface="Calibri"/>
                <a:cs typeface="Calibri"/>
              </a:rPr>
              <a:t>know what it </a:t>
            </a:r>
            <a:r>
              <a:rPr sz="1333" spc="-13">
                <a:solidFill>
                  <a:srgbClr val="0F2147"/>
                </a:solidFill>
                <a:latin typeface="Calibri"/>
                <a:cs typeface="Calibri"/>
              </a:rPr>
              <a:t>takes </a:t>
            </a:r>
            <a:r>
              <a:rPr sz="1333" spc="-7">
                <a:solidFill>
                  <a:srgbClr val="0F2147"/>
                </a:solidFill>
                <a:latin typeface="Calibri"/>
                <a:cs typeface="Calibri"/>
              </a:rPr>
              <a:t>to build, </a:t>
            </a:r>
            <a:r>
              <a:rPr sz="1333" spc="-13">
                <a:solidFill>
                  <a:srgbClr val="0F2147"/>
                </a:solidFill>
                <a:latin typeface="Calibri"/>
                <a:cs typeface="Calibri"/>
              </a:rPr>
              <a:t>operate </a:t>
            </a:r>
            <a:r>
              <a:rPr sz="1333">
                <a:solidFill>
                  <a:srgbClr val="0F2147"/>
                </a:solidFill>
                <a:latin typeface="Calibri"/>
                <a:cs typeface="Calibri"/>
              </a:rPr>
              <a:t>and </a:t>
            </a:r>
            <a:r>
              <a:rPr sz="1333" spc="-7">
                <a:solidFill>
                  <a:srgbClr val="0F2147"/>
                </a:solidFill>
                <a:latin typeface="Calibri"/>
                <a:cs typeface="Calibri"/>
              </a:rPr>
              <a:t>maintain </a:t>
            </a:r>
            <a:r>
              <a:rPr sz="1333">
                <a:solidFill>
                  <a:srgbClr val="0F2147"/>
                </a:solidFill>
                <a:latin typeface="Calibri"/>
                <a:cs typeface="Calibri"/>
              </a:rPr>
              <a:t>IT </a:t>
            </a:r>
            <a:r>
              <a:rPr sz="1333" spc="-13">
                <a:solidFill>
                  <a:srgbClr val="0F2147"/>
                </a:solidFill>
                <a:latin typeface="Calibri"/>
                <a:cs typeface="Calibri"/>
              </a:rPr>
              <a:t>solutions </a:t>
            </a:r>
            <a:r>
              <a:rPr sz="1333" spc="-7">
                <a:solidFill>
                  <a:srgbClr val="0F2147"/>
                </a:solidFill>
                <a:latin typeface="Calibri"/>
                <a:cs typeface="Calibri"/>
              </a:rPr>
              <a:t>across </a:t>
            </a:r>
            <a:r>
              <a:rPr sz="1333">
                <a:solidFill>
                  <a:srgbClr val="0F2147"/>
                </a:solidFill>
                <a:latin typeface="Calibri"/>
                <a:cs typeface="Calibri"/>
              </a:rPr>
              <a:t>all </a:t>
            </a:r>
            <a:r>
              <a:rPr sz="1333" spc="-13">
                <a:solidFill>
                  <a:srgbClr val="0F2147"/>
                </a:solidFill>
                <a:latin typeface="Calibri"/>
                <a:cs typeface="Calibri"/>
              </a:rPr>
              <a:t>sectors </a:t>
            </a:r>
            <a:r>
              <a:rPr sz="1333">
                <a:solidFill>
                  <a:srgbClr val="0F2147"/>
                </a:solidFill>
                <a:latin typeface="Calibri"/>
                <a:cs typeface="Calibri"/>
              </a:rPr>
              <a:t>and </a:t>
            </a:r>
            <a:r>
              <a:rPr sz="1333" spc="-7">
                <a:solidFill>
                  <a:srgbClr val="0F2147"/>
                </a:solidFill>
                <a:latin typeface="Calibri"/>
                <a:cs typeface="Calibri"/>
              </a:rPr>
              <a:t>industries.</a:t>
            </a:r>
            <a:endParaRPr sz="1333">
              <a:solidFill>
                <a:srgbClr val="0F2147"/>
              </a:solidFill>
              <a:latin typeface="Calibri"/>
              <a:cs typeface="Calibri"/>
            </a:endParaRPr>
          </a:p>
          <a:p>
            <a:pPr>
              <a:spcBef>
                <a:spcPts val="67"/>
              </a:spcBef>
            </a:pPr>
            <a:endParaRPr sz="1333">
              <a:solidFill>
                <a:srgbClr val="0F2147"/>
              </a:solidFill>
              <a:latin typeface="Times"/>
              <a:cs typeface="Times"/>
            </a:endParaRPr>
          </a:p>
          <a:p>
            <a:pPr marL="16933" marR="6773"/>
            <a:r>
              <a:rPr sz="1333" spc="-20">
                <a:solidFill>
                  <a:srgbClr val="0F2147"/>
                </a:solidFill>
                <a:latin typeface="Calibri"/>
                <a:cs typeface="Calibri"/>
              </a:rPr>
              <a:t>We </a:t>
            </a:r>
            <a:r>
              <a:rPr sz="1333" spc="-7">
                <a:solidFill>
                  <a:srgbClr val="0F2147"/>
                </a:solidFill>
                <a:latin typeface="Calibri"/>
                <a:cs typeface="Calibri"/>
              </a:rPr>
              <a:t>constantly challenge </a:t>
            </a:r>
            <a:r>
              <a:rPr sz="1333">
                <a:solidFill>
                  <a:srgbClr val="0F2147"/>
                </a:solidFill>
                <a:latin typeface="Calibri"/>
                <a:cs typeface="Calibri"/>
              </a:rPr>
              <a:t>and </a:t>
            </a:r>
            <a:r>
              <a:rPr sz="1333" spc="-13">
                <a:solidFill>
                  <a:srgbClr val="0F2147"/>
                </a:solidFill>
                <a:latin typeface="Calibri"/>
                <a:cs typeface="Calibri"/>
              </a:rPr>
              <a:t>innovate, </a:t>
            </a:r>
            <a:r>
              <a:rPr sz="1333">
                <a:solidFill>
                  <a:srgbClr val="0F2147"/>
                </a:solidFill>
                <a:latin typeface="Calibri"/>
                <a:cs typeface="Calibri"/>
              </a:rPr>
              <a:t>and </a:t>
            </a:r>
            <a:r>
              <a:rPr sz="1333" spc="-7">
                <a:solidFill>
                  <a:srgbClr val="0F2147"/>
                </a:solidFill>
                <a:latin typeface="Calibri"/>
                <a:cs typeface="Calibri"/>
              </a:rPr>
              <a:t>ensure that Development </a:t>
            </a:r>
            <a:r>
              <a:rPr sz="1333">
                <a:solidFill>
                  <a:srgbClr val="0F2147"/>
                </a:solidFill>
                <a:latin typeface="Calibri"/>
                <a:cs typeface="Calibri"/>
              </a:rPr>
              <a:t>and </a:t>
            </a:r>
            <a:r>
              <a:rPr sz="1333" spc="-13">
                <a:solidFill>
                  <a:srgbClr val="0F2147"/>
                </a:solidFill>
                <a:latin typeface="Calibri"/>
                <a:cs typeface="Calibri"/>
              </a:rPr>
              <a:t>Operations </a:t>
            </a:r>
            <a:r>
              <a:rPr sz="1333" spc="-7">
                <a:solidFill>
                  <a:srgbClr val="0F2147"/>
                </a:solidFill>
                <a:latin typeface="Calibri"/>
                <a:cs typeface="Calibri"/>
              </a:rPr>
              <a:t>work together to ensure stability </a:t>
            </a:r>
            <a:r>
              <a:rPr sz="1333">
                <a:solidFill>
                  <a:srgbClr val="0F2147"/>
                </a:solidFill>
                <a:latin typeface="Calibri"/>
                <a:cs typeface="Calibri"/>
              </a:rPr>
              <a:t>with</a:t>
            </a:r>
            <a:r>
              <a:rPr sz="1333" spc="-7">
                <a:solidFill>
                  <a:srgbClr val="0F2147"/>
                </a:solidFill>
                <a:latin typeface="Calibri"/>
                <a:cs typeface="Calibri"/>
              </a:rPr>
              <a:t> speed.</a:t>
            </a:r>
            <a:endParaRPr sz="1333">
              <a:solidFill>
                <a:srgbClr val="0F2147"/>
              </a:solidFill>
              <a:latin typeface="Calibri"/>
              <a:cs typeface="Calibri"/>
            </a:endParaRPr>
          </a:p>
        </p:txBody>
      </p:sp>
      <p:sp>
        <p:nvSpPr>
          <p:cNvPr id="6" name="object 30">
            <a:extLst>
              <a:ext uri="{FF2B5EF4-FFF2-40B4-BE49-F238E27FC236}">
                <a16:creationId xmlns:a16="http://schemas.microsoft.com/office/drawing/2014/main" id="{1FB7A428-054B-4DD6-A889-FA37E811E1BD}"/>
              </a:ext>
            </a:extLst>
          </p:cNvPr>
          <p:cNvSpPr txBox="1"/>
          <p:nvPr/>
        </p:nvSpPr>
        <p:spPr>
          <a:xfrm>
            <a:off x="7581922" y="2612883"/>
            <a:ext cx="1109133" cy="170987"/>
          </a:xfrm>
          <a:prstGeom prst="rect">
            <a:avLst/>
          </a:prstGeom>
        </p:spPr>
        <p:txBody>
          <a:bodyPr vert="horz" wrap="square" lIns="0" tIns="16933"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Bef>
                <a:spcPts val="133"/>
              </a:spcBef>
            </a:pPr>
            <a:r>
              <a:rPr sz="1000" b="1" spc="-13">
                <a:solidFill>
                  <a:srgbClr val="FFFFFF"/>
                </a:solidFill>
                <a:latin typeface="Calibri"/>
                <a:cs typeface="Calibri"/>
              </a:rPr>
              <a:t>Innovation</a:t>
            </a:r>
            <a:r>
              <a:rPr sz="1000" b="1" spc="-27">
                <a:solidFill>
                  <a:srgbClr val="FFFFFF"/>
                </a:solidFill>
                <a:latin typeface="Calibri"/>
                <a:cs typeface="Calibri"/>
              </a:rPr>
              <a:t> </a:t>
            </a:r>
            <a:r>
              <a:rPr sz="1000" b="1" spc="-7">
                <a:solidFill>
                  <a:srgbClr val="FFFFFF"/>
                </a:solidFill>
                <a:latin typeface="Calibri"/>
                <a:cs typeface="Calibri"/>
              </a:rPr>
              <a:t>approach</a:t>
            </a:r>
            <a:endParaRPr sz="1000">
              <a:latin typeface="Calibri"/>
              <a:cs typeface="Calibri"/>
            </a:endParaRPr>
          </a:p>
        </p:txBody>
      </p:sp>
      <p:sp>
        <p:nvSpPr>
          <p:cNvPr id="7" name="object 31">
            <a:extLst>
              <a:ext uri="{FF2B5EF4-FFF2-40B4-BE49-F238E27FC236}">
                <a16:creationId xmlns:a16="http://schemas.microsoft.com/office/drawing/2014/main" id="{CA633E63-2003-4688-BECB-D12315339FB1}"/>
              </a:ext>
            </a:extLst>
          </p:cNvPr>
          <p:cNvSpPr txBox="1"/>
          <p:nvPr/>
        </p:nvSpPr>
        <p:spPr>
          <a:xfrm>
            <a:off x="9581823" y="2612883"/>
            <a:ext cx="1328420" cy="170987"/>
          </a:xfrm>
          <a:prstGeom prst="rect">
            <a:avLst/>
          </a:prstGeom>
        </p:spPr>
        <p:txBody>
          <a:bodyPr vert="horz" wrap="square" lIns="0" tIns="16933"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Bef>
                <a:spcPts val="133"/>
              </a:spcBef>
            </a:pPr>
            <a:r>
              <a:rPr sz="1000" b="1">
                <a:solidFill>
                  <a:srgbClr val="FFFFFF"/>
                </a:solidFill>
                <a:latin typeface="Calibri"/>
                <a:cs typeface="Calibri"/>
              </a:rPr>
              <a:t>Agile and solid</a:t>
            </a:r>
            <a:r>
              <a:rPr sz="1000" b="1" spc="-93">
                <a:solidFill>
                  <a:srgbClr val="FFFFFF"/>
                </a:solidFill>
                <a:latin typeface="Calibri"/>
                <a:cs typeface="Calibri"/>
              </a:rPr>
              <a:t> </a:t>
            </a:r>
            <a:r>
              <a:rPr sz="1000" b="1" spc="-13">
                <a:solidFill>
                  <a:srgbClr val="FFFFFF"/>
                </a:solidFill>
                <a:latin typeface="Calibri"/>
                <a:cs typeface="Calibri"/>
              </a:rPr>
              <a:t>execution</a:t>
            </a:r>
            <a:endParaRPr sz="1000">
              <a:latin typeface="Calibri"/>
              <a:cs typeface="Calibri"/>
            </a:endParaRPr>
          </a:p>
        </p:txBody>
      </p:sp>
      <p:sp>
        <p:nvSpPr>
          <p:cNvPr id="8" name="object 32">
            <a:extLst>
              <a:ext uri="{FF2B5EF4-FFF2-40B4-BE49-F238E27FC236}">
                <a16:creationId xmlns:a16="http://schemas.microsoft.com/office/drawing/2014/main" id="{D8FD4C62-9444-412F-B4DF-3B901C39759D}"/>
              </a:ext>
            </a:extLst>
          </p:cNvPr>
          <p:cNvSpPr txBox="1"/>
          <p:nvPr/>
        </p:nvSpPr>
        <p:spPr>
          <a:xfrm>
            <a:off x="8630681" y="4625869"/>
            <a:ext cx="1143847" cy="170987"/>
          </a:xfrm>
          <a:prstGeom prst="rect">
            <a:avLst/>
          </a:prstGeom>
        </p:spPr>
        <p:txBody>
          <a:bodyPr vert="horz" wrap="square" lIns="0" tIns="16933"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Bef>
                <a:spcPts val="133"/>
              </a:spcBef>
            </a:pPr>
            <a:r>
              <a:rPr sz="1000" b="1" spc="-7">
                <a:solidFill>
                  <a:srgbClr val="FFFFFF"/>
                </a:solidFill>
                <a:latin typeface="Calibri"/>
                <a:cs typeface="Calibri"/>
              </a:rPr>
              <a:t>Through </a:t>
            </a:r>
            <a:r>
              <a:rPr sz="1000" b="1">
                <a:solidFill>
                  <a:srgbClr val="FFFFFF"/>
                </a:solidFill>
                <a:latin typeface="Calibri"/>
                <a:cs typeface="Calibri"/>
              </a:rPr>
              <a:t>true</a:t>
            </a:r>
            <a:r>
              <a:rPr sz="1000" b="1" spc="-73">
                <a:solidFill>
                  <a:srgbClr val="FFFFFF"/>
                </a:solidFill>
                <a:latin typeface="Calibri"/>
                <a:cs typeface="Calibri"/>
              </a:rPr>
              <a:t> </a:t>
            </a:r>
            <a:r>
              <a:rPr sz="1000" b="1" spc="-7">
                <a:solidFill>
                  <a:srgbClr val="FFFFFF"/>
                </a:solidFill>
                <a:latin typeface="Calibri"/>
                <a:cs typeface="Calibri"/>
              </a:rPr>
              <a:t>DevOps</a:t>
            </a:r>
            <a:endParaRPr sz="1000">
              <a:latin typeface="Calibri"/>
              <a:cs typeface="Calibri"/>
            </a:endParaRPr>
          </a:p>
        </p:txBody>
      </p:sp>
      <p:sp>
        <p:nvSpPr>
          <p:cNvPr id="9" name="object 33">
            <a:extLst>
              <a:ext uri="{FF2B5EF4-FFF2-40B4-BE49-F238E27FC236}">
                <a16:creationId xmlns:a16="http://schemas.microsoft.com/office/drawing/2014/main" id="{0BB09799-30B9-482E-AA32-E2C8FBD33083}"/>
              </a:ext>
            </a:extLst>
          </p:cNvPr>
          <p:cNvSpPr/>
          <p:nvPr/>
        </p:nvSpPr>
        <p:spPr>
          <a:xfrm>
            <a:off x="8762724" y="3004221"/>
            <a:ext cx="768773" cy="386080"/>
          </a:xfrm>
          <a:custGeom>
            <a:avLst/>
            <a:gdLst/>
            <a:ahLst/>
            <a:cxnLst/>
            <a:rect l="l" t="t" r="r" b="b"/>
            <a:pathLst>
              <a:path w="576579" h="289560">
                <a:moveTo>
                  <a:pt x="0" y="1689"/>
                </a:moveTo>
                <a:lnTo>
                  <a:pt x="287375" y="289064"/>
                </a:lnTo>
                <a:lnTo>
                  <a:pt x="576440" y="0"/>
                </a:lnTo>
              </a:path>
            </a:pathLst>
          </a:custGeom>
          <a:ln w="4762">
            <a:solidFill>
              <a:srgbClr val="FFFFFF"/>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0" name="object 34">
            <a:extLst>
              <a:ext uri="{FF2B5EF4-FFF2-40B4-BE49-F238E27FC236}">
                <a16:creationId xmlns:a16="http://schemas.microsoft.com/office/drawing/2014/main" id="{81417B74-3563-449D-BA18-540ACFBE8A3A}"/>
              </a:ext>
            </a:extLst>
          </p:cNvPr>
          <p:cNvSpPr/>
          <p:nvPr/>
        </p:nvSpPr>
        <p:spPr>
          <a:xfrm>
            <a:off x="9145655" y="3387506"/>
            <a:ext cx="0" cy="452967"/>
          </a:xfrm>
          <a:custGeom>
            <a:avLst/>
            <a:gdLst/>
            <a:ahLst/>
            <a:cxnLst/>
            <a:rect l="l" t="t" r="r" b="b"/>
            <a:pathLst>
              <a:path h="339725">
                <a:moveTo>
                  <a:pt x="0" y="0"/>
                </a:moveTo>
                <a:lnTo>
                  <a:pt x="0" y="339191"/>
                </a:lnTo>
              </a:path>
            </a:pathLst>
          </a:custGeom>
          <a:ln w="4762">
            <a:solidFill>
              <a:srgbClr val="FFFFFF"/>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1" name="object 36">
            <a:extLst>
              <a:ext uri="{FF2B5EF4-FFF2-40B4-BE49-F238E27FC236}">
                <a16:creationId xmlns:a16="http://schemas.microsoft.com/office/drawing/2014/main" id="{FDAB93FD-C36D-4C73-B338-4FCD7992A285}"/>
              </a:ext>
            </a:extLst>
          </p:cNvPr>
          <p:cNvSpPr txBox="1"/>
          <p:nvPr/>
        </p:nvSpPr>
        <p:spPr>
          <a:xfrm>
            <a:off x="9642948" y="3863332"/>
            <a:ext cx="516547" cy="672899"/>
          </a:xfrm>
          <a:prstGeom prst="rect">
            <a:avLst/>
          </a:prstGeom>
        </p:spPr>
        <p:txBody>
          <a:bodyPr vert="horz" wrap="square" lIns="0" tIns="23707"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6773">
              <a:lnSpc>
                <a:spcPct val="118200"/>
              </a:lnSpc>
              <a:spcBef>
                <a:spcPts val="187"/>
              </a:spcBef>
            </a:pPr>
            <a:r>
              <a:rPr sz="800" spc="7">
                <a:solidFill>
                  <a:schemeClr val="bg1"/>
                </a:solidFill>
                <a:latin typeface="Calibri-Light"/>
                <a:cs typeface="Calibri-Light"/>
              </a:rPr>
              <a:t>Deploy  </a:t>
            </a:r>
            <a:r>
              <a:rPr lang="da-DK" sz="800" spc="7">
                <a:solidFill>
                  <a:schemeClr val="bg1"/>
                </a:solidFill>
                <a:latin typeface="Calibri-Light"/>
                <a:cs typeface="Calibri-Light"/>
              </a:rPr>
              <a:t>      </a:t>
            </a:r>
          </a:p>
          <a:p>
            <a:pPr marR="6773">
              <a:lnSpc>
                <a:spcPct val="118200"/>
              </a:lnSpc>
              <a:spcBef>
                <a:spcPts val="187"/>
              </a:spcBef>
            </a:pPr>
            <a:r>
              <a:rPr lang="da-DK" sz="800">
                <a:solidFill>
                  <a:schemeClr val="bg1"/>
                </a:solidFill>
                <a:latin typeface="Calibri-Light"/>
                <a:cs typeface="Calibri-Light"/>
              </a:rPr>
              <a:t>   </a:t>
            </a:r>
            <a:r>
              <a:rPr sz="800">
                <a:solidFill>
                  <a:schemeClr val="bg1"/>
                </a:solidFill>
                <a:latin typeface="Calibri-Light"/>
                <a:cs typeface="Calibri-Light"/>
              </a:rPr>
              <a:t>Operate  </a:t>
            </a:r>
            <a:endParaRPr lang="da-DK" sz="800">
              <a:solidFill>
                <a:schemeClr val="bg1"/>
              </a:solidFill>
              <a:latin typeface="Calibri-Light"/>
              <a:cs typeface="Calibri-Light"/>
            </a:endParaRPr>
          </a:p>
          <a:p>
            <a:pPr marR="6773">
              <a:lnSpc>
                <a:spcPct val="118200"/>
              </a:lnSpc>
              <a:spcBef>
                <a:spcPts val="187"/>
              </a:spcBef>
            </a:pPr>
            <a:r>
              <a:rPr lang="da-DK" sz="800">
                <a:solidFill>
                  <a:schemeClr val="bg1"/>
                </a:solidFill>
                <a:latin typeface="Calibri-Light"/>
                <a:cs typeface="Calibri-Light"/>
              </a:rPr>
              <a:t>   </a:t>
            </a:r>
            <a:r>
              <a:rPr sz="800">
                <a:solidFill>
                  <a:schemeClr val="bg1"/>
                </a:solidFill>
                <a:latin typeface="Calibri-Light"/>
                <a:cs typeface="Calibri-Light"/>
              </a:rPr>
              <a:t>Monitor  </a:t>
            </a:r>
            <a:endParaRPr lang="da-DK" sz="800">
              <a:solidFill>
                <a:schemeClr val="bg1"/>
              </a:solidFill>
              <a:latin typeface="Calibri-Light"/>
              <a:cs typeface="Calibri-Light"/>
            </a:endParaRPr>
          </a:p>
          <a:p>
            <a:pPr marR="6773">
              <a:lnSpc>
                <a:spcPct val="118200"/>
              </a:lnSpc>
              <a:spcBef>
                <a:spcPts val="187"/>
              </a:spcBef>
            </a:pPr>
            <a:r>
              <a:rPr lang="en-US" sz="800">
                <a:solidFill>
                  <a:schemeClr val="bg1"/>
                </a:solidFill>
                <a:latin typeface="Calibri-Light"/>
                <a:cs typeface="Calibri-Light"/>
              </a:rPr>
              <a:t>Release</a:t>
            </a:r>
            <a:endParaRPr sz="800">
              <a:solidFill>
                <a:schemeClr val="bg1"/>
              </a:solidFill>
              <a:latin typeface="Calibri-Light"/>
              <a:cs typeface="Calibri-Light"/>
            </a:endParaRPr>
          </a:p>
        </p:txBody>
      </p:sp>
      <p:sp>
        <p:nvSpPr>
          <p:cNvPr id="12" name="object 37">
            <a:extLst>
              <a:ext uri="{FF2B5EF4-FFF2-40B4-BE49-F238E27FC236}">
                <a16:creationId xmlns:a16="http://schemas.microsoft.com/office/drawing/2014/main" id="{1B43C08B-B0E0-40CC-9E87-75F9B2E18F5F}"/>
              </a:ext>
            </a:extLst>
          </p:cNvPr>
          <p:cNvSpPr txBox="1"/>
          <p:nvPr/>
        </p:nvSpPr>
        <p:spPr>
          <a:xfrm>
            <a:off x="8385669" y="3885805"/>
            <a:ext cx="388040" cy="611364"/>
          </a:xfrm>
          <a:prstGeom prst="rect">
            <a:avLst/>
          </a:prstGeom>
        </p:spPr>
        <p:txBody>
          <a:bodyPr vert="horz" wrap="square" lIns="0" tIns="20320" rIns="0" bIns="0" rtlCol="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R="6773" indent="54185">
              <a:lnSpc>
                <a:spcPct val="121500"/>
              </a:lnSpc>
              <a:spcBef>
                <a:spcPts val="160"/>
              </a:spcBef>
            </a:pPr>
            <a:r>
              <a:rPr sz="800">
                <a:solidFill>
                  <a:srgbClr val="FFFFFF"/>
                </a:solidFill>
                <a:latin typeface="Calibri-Light"/>
                <a:cs typeface="Calibri-Light"/>
              </a:rPr>
              <a:t>Code  </a:t>
            </a:r>
            <a:r>
              <a:rPr sz="800" spc="7">
                <a:solidFill>
                  <a:srgbClr val="FFFFFF"/>
                </a:solidFill>
                <a:latin typeface="Calibri-Light"/>
                <a:cs typeface="Calibri-Light"/>
              </a:rPr>
              <a:t>Plan  </a:t>
            </a:r>
            <a:r>
              <a:rPr sz="800">
                <a:solidFill>
                  <a:srgbClr val="FFFFFF"/>
                </a:solidFill>
                <a:latin typeface="Calibri-Light"/>
                <a:cs typeface="Calibri-Light"/>
              </a:rPr>
              <a:t>Build</a:t>
            </a:r>
            <a:endParaRPr sz="800">
              <a:latin typeface="Calibri-Light"/>
              <a:cs typeface="Calibri-Light"/>
            </a:endParaRPr>
          </a:p>
          <a:p>
            <a:pPr marL="73657">
              <a:spcBef>
                <a:spcPts val="100"/>
              </a:spcBef>
            </a:pPr>
            <a:r>
              <a:rPr sz="800" spc="-13">
                <a:solidFill>
                  <a:srgbClr val="FFFFFF"/>
                </a:solidFill>
                <a:latin typeface="Calibri-Light"/>
                <a:cs typeface="Calibri-Light"/>
              </a:rPr>
              <a:t>Test</a:t>
            </a:r>
            <a:endParaRPr sz="800">
              <a:latin typeface="Calibri-Light"/>
              <a:cs typeface="Calibri-Light"/>
            </a:endParaRPr>
          </a:p>
        </p:txBody>
      </p:sp>
      <p:sp>
        <p:nvSpPr>
          <p:cNvPr id="13" name="object 38">
            <a:extLst>
              <a:ext uri="{FF2B5EF4-FFF2-40B4-BE49-F238E27FC236}">
                <a16:creationId xmlns:a16="http://schemas.microsoft.com/office/drawing/2014/main" id="{4FF88C5B-9165-46E0-B78C-26B8C1C763E6}"/>
              </a:ext>
            </a:extLst>
          </p:cNvPr>
          <p:cNvSpPr/>
          <p:nvPr/>
        </p:nvSpPr>
        <p:spPr>
          <a:xfrm>
            <a:off x="9543431" y="4031975"/>
            <a:ext cx="26247" cy="22013"/>
          </a:xfrm>
          <a:custGeom>
            <a:avLst/>
            <a:gdLst/>
            <a:ahLst/>
            <a:cxnLst/>
            <a:rect l="l" t="t" r="r" b="b"/>
            <a:pathLst>
              <a:path w="19684" h="16510">
                <a:moveTo>
                  <a:pt x="0" y="16471"/>
                </a:moveTo>
                <a:lnTo>
                  <a:pt x="19265" y="0"/>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4" name="object 39">
            <a:extLst>
              <a:ext uri="{FF2B5EF4-FFF2-40B4-BE49-F238E27FC236}">
                <a16:creationId xmlns:a16="http://schemas.microsoft.com/office/drawing/2014/main" id="{15240A5B-161D-4596-88EA-C605EB995B35}"/>
              </a:ext>
            </a:extLst>
          </p:cNvPr>
          <p:cNvSpPr/>
          <p:nvPr/>
        </p:nvSpPr>
        <p:spPr>
          <a:xfrm>
            <a:off x="8725278" y="4031975"/>
            <a:ext cx="26247" cy="22013"/>
          </a:xfrm>
          <a:custGeom>
            <a:avLst/>
            <a:gdLst/>
            <a:ahLst/>
            <a:cxnLst/>
            <a:rect l="l" t="t" r="r" b="b"/>
            <a:pathLst>
              <a:path w="19684" h="16510">
                <a:moveTo>
                  <a:pt x="19265" y="16471"/>
                </a:moveTo>
                <a:lnTo>
                  <a:pt x="0" y="0"/>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5" name="object 40">
            <a:extLst>
              <a:ext uri="{FF2B5EF4-FFF2-40B4-BE49-F238E27FC236}">
                <a16:creationId xmlns:a16="http://schemas.microsoft.com/office/drawing/2014/main" id="{4BE6A966-E043-4EE8-8224-E5E2469A3277}"/>
              </a:ext>
            </a:extLst>
          </p:cNvPr>
          <p:cNvSpPr/>
          <p:nvPr/>
        </p:nvSpPr>
        <p:spPr>
          <a:xfrm>
            <a:off x="9543431" y="4364110"/>
            <a:ext cx="26247" cy="22013"/>
          </a:xfrm>
          <a:custGeom>
            <a:avLst/>
            <a:gdLst/>
            <a:ahLst/>
            <a:cxnLst/>
            <a:rect l="l" t="t" r="r" b="b"/>
            <a:pathLst>
              <a:path w="19684" h="16510">
                <a:moveTo>
                  <a:pt x="0" y="0"/>
                </a:moveTo>
                <a:lnTo>
                  <a:pt x="19265" y="16471"/>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6" name="object 41">
            <a:extLst>
              <a:ext uri="{FF2B5EF4-FFF2-40B4-BE49-F238E27FC236}">
                <a16:creationId xmlns:a16="http://schemas.microsoft.com/office/drawing/2014/main" id="{DDE3653F-972F-4B53-B224-F9A04FA722D1}"/>
              </a:ext>
            </a:extLst>
          </p:cNvPr>
          <p:cNvSpPr/>
          <p:nvPr/>
        </p:nvSpPr>
        <p:spPr>
          <a:xfrm>
            <a:off x="8725278" y="4364110"/>
            <a:ext cx="26247" cy="22013"/>
          </a:xfrm>
          <a:custGeom>
            <a:avLst/>
            <a:gdLst/>
            <a:ahLst/>
            <a:cxnLst/>
            <a:rect l="l" t="t" r="r" b="b"/>
            <a:pathLst>
              <a:path w="19684" h="16510">
                <a:moveTo>
                  <a:pt x="19265" y="0"/>
                </a:moveTo>
                <a:lnTo>
                  <a:pt x="0" y="16471"/>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7" name="object 42">
            <a:extLst>
              <a:ext uri="{FF2B5EF4-FFF2-40B4-BE49-F238E27FC236}">
                <a16:creationId xmlns:a16="http://schemas.microsoft.com/office/drawing/2014/main" id="{9D0547A3-130F-4514-8430-E716D7C3F386}"/>
              </a:ext>
            </a:extLst>
          </p:cNvPr>
          <p:cNvSpPr/>
          <p:nvPr/>
        </p:nvSpPr>
        <p:spPr>
          <a:xfrm>
            <a:off x="9593840" y="4147278"/>
            <a:ext cx="33867" cy="6773"/>
          </a:xfrm>
          <a:custGeom>
            <a:avLst/>
            <a:gdLst/>
            <a:ahLst/>
            <a:cxnLst/>
            <a:rect l="l" t="t" r="r" b="b"/>
            <a:pathLst>
              <a:path w="25400" h="5080">
                <a:moveTo>
                  <a:pt x="0" y="4635"/>
                </a:moveTo>
                <a:lnTo>
                  <a:pt x="24917" y="0"/>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8" name="object 43">
            <a:extLst>
              <a:ext uri="{FF2B5EF4-FFF2-40B4-BE49-F238E27FC236}">
                <a16:creationId xmlns:a16="http://schemas.microsoft.com/office/drawing/2014/main" id="{B016F54E-969E-40AF-AEE8-0128CDE4AF15}"/>
              </a:ext>
            </a:extLst>
          </p:cNvPr>
          <p:cNvSpPr/>
          <p:nvPr/>
        </p:nvSpPr>
        <p:spPr>
          <a:xfrm>
            <a:off x="8667331" y="4147278"/>
            <a:ext cx="33867" cy="6773"/>
          </a:xfrm>
          <a:custGeom>
            <a:avLst/>
            <a:gdLst/>
            <a:ahLst/>
            <a:cxnLst/>
            <a:rect l="l" t="t" r="r" b="b"/>
            <a:pathLst>
              <a:path w="25400" h="5080">
                <a:moveTo>
                  <a:pt x="24917" y="4635"/>
                </a:moveTo>
                <a:lnTo>
                  <a:pt x="0" y="0"/>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19" name="object 44">
            <a:extLst>
              <a:ext uri="{FF2B5EF4-FFF2-40B4-BE49-F238E27FC236}">
                <a16:creationId xmlns:a16="http://schemas.microsoft.com/office/drawing/2014/main" id="{61541AF6-555E-4265-B0C3-A4B40C492804}"/>
              </a:ext>
            </a:extLst>
          </p:cNvPr>
          <p:cNvSpPr/>
          <p:nvPr/>
        </p:nvSpPr>
        <p:spPr>
          <a:xfrm>
            <a:off x="9593840" y="4264588"/>
            <a:ext cx="33867" cy="6773"/>
          </a:xfrm>
          <a:custGeom>
            <a:avLst/>
            <a:gdLst/>
            <a:ahLst/>
            <a:cxnLst/>
            <a:rect l="l" t="t" r="r" b="b"/>
            <a:pathLst>
              <a:path w="25400" h="5080">
                <a:moveTo>
                  <a:pt x="0" y="0"/>
                </a:moveTo>
                <a:lnTo>
                  <a:pt x="24917" y="4635"/>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sp>
        <p:nvSpPr>
          <p:cNvPr id="20" name="object 45">
            <a:extLst>
              <a:ext uri="{FF2B5EF4-FFF2-40B4-BE49-F238E27FC236}">
                <a16:creationId xmlns:a16="http://schemas.microsoft.com/office/drawing/2014/main" id="{B5BA87AB-FD0A-4DA4-BCBE-8DF672DADA8B}"/>
              </a:ext>
            </a:extLst>
          </p:cNvPr>
          <p:cNvSpPr/>
          <p:nvPr/>
        </p:nvSpPr>
        <p:spPr>
          <a:xfrm>
            <a:off x="8667331" y="4264588"/>
            <a:ext cx="33867" cy="6773"/>
          </a:xfrm>
          <a:custGeom>
            <a:avLst/>
            <a:gdLst/>
            <a:ahLst/>
            <a:cxnLst/>
            <a:rect l="l" t="t" r="r" b="b"/>
            <a:pathLst>
              <a:path w="25400" h="5080">
                <a:moveTo>
                  <a:pt x="24917" y="0"/>
                </a:moveTo>
                <a:lnTo>
                  <a:pt x="0" y="4635"/>
                </a:lnTo>
              </a:path>
            </a:pathLst>
          </a:custGeom>
          <a:ln w="14287">
            <a:solidFill>
              <a:srgbClr val="E4675A"/>
            </a:solidFill>
          </a:ln>
        </p:spPr>
        <p:txBody>
          <a:bodyPr wrap="square" lIns="0" tIns="0" rIns="0" bIns="0" rtlCol="0"/>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sz="2400"/>
          </a:p>
        </p:txBody>
      </p:sp>
      <p:pic>
        <p:nvPicPr>
          <p:cNvPr id="21" name="Picture 20">
            <a:extLst>
              <a:ext uri="{FF2B5EF4-FFF2-40B4-BE49-F238E27FC236}">
                <a16:creationId xmlns:a16="http://schemas.microsoft.com/office/drawing/2014/main" id="{B0751262-E0B0-4C65-944F-6114767490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9889" y="3972765"/>
            <a:ext cx="903369" cy="481079"/>
          </a:xfrm>
          <a:prstGeom prst="rect">
            <a:avLst/>
          </a:prstGeom>
        </p:spPr>
      </p:pic>
      <p:pic>
        <p:nvPicPr>
          <p:cNvPr id="22" name="Picture 21">
            <a:extLst>
              <a:ext uri="{FF2B5EF4-FFF2-40B4-BE49-F238E27FC236}">
                <a16:creationId xmlns:a16="http://schemas.microsoft.com/office/drawing/2014/main" id="{A993F6CD-C25A-4C07-8CC5-1A1FEB7ADB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25497" y="1930601"/>
            <a:ext cx="550491" cy="563947"/>
          </a:xfrm>
          <a:prstGeom prst="rect">
            <a:avLst/>
          </a:prstGeom>
        </p:spPr>
      </p:pic>
      <p:pic>
        <p:nvPicPr>
          <p:cNvPr id="23" name="Picture 22">
            <a:extLst>
              <a:ext uri="{FF2B5EF4-FFF2-40B4-BE49-F238E27FC236}">
                <a16:creationId xmlns:a16="http://schemas.microsoft.com/office/drawing/2014/main" id="{37384B94-78FF-4954-8617-7103A60755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15289" y="1938610"/>
            <a:ext cx="755441" cy="555092"/>
          </a:xfrm>
          <a:prstGeom prst="rect">
            <a:avLst/>
          </a:prstGeom>
        </p:spPr>
      </p:pic>
      <p:sp>
        <p:nvSpPr>
          <p:cNvPr id="24" name="object 2">
            <a:extLst>
              <a:ext uri="{FF2B5EF4-FFF2-40B4-BE49-F238E27FC236}">
                <a16:creationId xmlns:a16="http://schemas.microsoft.com/office/drawing/2014/main" id="{F28DF6A5-9878-4AE0-A574-0E5A941446BC}"/>
              </a:ext>
            </a:extLst>
          </p:cNvPr>
          <p:cNvSpPr txBox="1">
            <a:spLocks/>
          </p:cNvSpPr>
          <p:nvPr/>
        </p:nvSpPr>
        <p:spPr>
          <a:xfrm>
            <a:off x="1443383" y="2128881"/>
            <a:ext cx="3318087" cy="1116753"/>
          </a:xfrm>
          <a:prstGeom prst="rect">
            <a:avLst/>
          </a:prstGeom>
        </p:spPr>
        <p:txBody>
          <a:bodyPr vert="horz" wrap="square" lIns="0" tIns="71967" rIns="0" bIns="0" rtlCol="0" anchor="t" anchorCtr="0">
            <a:sp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6933" marR="6773">
              <a:lnSpc>
                <a:spcPts val="2707"/>
              </a:lnSpc>
              <a:spcBef>
                <a:spcPts val="567"/>
              </a:spcBef>
            </a:pPr>
            <a:r>
              <a:rPr lang="en-US" sz="2600" spc="80">
                <a:solidFill>
                  <a:srgbClr val="0F2147"/>
                </a:solidFill>
              </a:rPr>
              <a:t>PREFERRED</a:t>
            </a:r>
            <a:r>
              <a:rPr lang="en-US" sz="2600" spc="13">
                <a:solidFill>
                  <a:srgbClr val="0F2147"/>
                </a:solidFill>
              </a:rPr>
              <a:t> </a:t>
            </a:r>
            <a:r>
              <a:rPr lang="en-US" sz="2600" spc="80">
                <a:solidFill>
                  <a:srgbClr val="0F2147"/>
                </a:solidFill>
              </a:rPr>
              <a:t>PROVIDER  </a:t>
            </a:r>
            <a:r>
              <a:rPr lang="en-US" sz="2600" spc="40">
                <a:solidFill>
                  <a:srgbClr val="0F2147"/>
                </a:solidFill>
              </a:rPr>
              <a:t>OF</a:t>
            </a:r>
            <a:r>
              <a:rPr lang="en-US" sz="2600" spc="87">
                <a:solidFill>
                  <a:srgbClr val="0F2147"/>
                </a:solidFill>
              </a:rPr>
              <a:t> </a:t>
            </a:r>
            <a:r>
              <a:rPr lang="en-US" sz="2600" spc="47">
                <a:solidFill>
                  <a:srgbClr val="0F2147"/>
                </a:solidFill>
              </a:rPr>
              <a:t>END-TO-END</a:t>
            </a:r>
          </a:p>
          <a:p>
            <a:pPr marL="16933">
              <a:lnSpc>
                <a:spcPts val="2673"/>
              </a:lnSpc>
            </a:pPr>
            <a:r>
              <a:rPr lang="en-US" sz="2600" spc="67">
                <a:solidFill>
                  <a:srgbClr val="0F2147"/>
                </a:solidFill>
              </a:rPr>
              <a:t>SERVICES</a:t>
            </a:r>
          </a:p>
        </p:txBody>
      </p:sp>
    </p:spTree>
    <p:custDataLst>
      <p:tags r:id="rId1"/>
    </p:custDataLst>
    <p:extLst>
      <p:ext uri="{BB962C8B-B14F-4D97-AF65-F5344CB8AC3E}">
        <p14:creationId xmlns:p14="http://schemas.microsoft.com/office/powerpoint/2010/main" val="10145342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602B82-5842-4C09-9CE0-FE65AF0814C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602B82-5842-4C09-9CE0-FE65AF0814C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57649-04B0-4766-9290-E5B6D0EB61FD}"/>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a:t>Agenda</a:t>
            </a:r>
          </a:p>
        </p:txBody>
      </p:sp>
      <p:sp>
        <p:nvSpPr>
          <p:cNvPr id="8" name="Pentagon 23">
            <a:extLst>
              <a:ext uri="{FF2B5EF4-FFF2-40B4-BE49-F238E27FC236}">
                <a16:creationId xmlns:a16="http://schemas.microsoft.com/office/drawing/2014/main" id="{598E6103-3DFF-4B87-B5C7-300316CB1814}"/>
              </a:ext>
            </a:extLst>
          </p:cNvPr>
          <p:cNvSpPr/>
          <p:nvPr/>
        </p:nvSpPr>
        <p:spPr>
          <a:xfrm>
            <a:off x="1145628" y="14003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a:t>
            </a:r>
          </a:p>
        </p:txBody>
      </p:sp>
      <p:sp>
        <p:nvSpPr>
          <p:cNvPr id="13" name="Oval 12">
            <a:extLst>
              <a:ext uri="{FF2B5EF4-FFF2-40B4-BE49-F238E27FC236}">
                <a16:creationId xmlns:a16="http://schemas.microsoft.com/office/drawing/2014/main" id="{9D57BE4A-5B6A-4752-A75D-1142E779029A}"/>
              </a:ext>
            </a:extLst>
          </p:cNvPr>
          <p:cNvSpPr/>
          <p:nvPr/>
        </p:nvSpPr>
        <p:spPr>
          <a:xfrm>
            <a:off x="839218" y="14049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4" name="Graphic 22">
            <a:extLst>
              <a:ext uri="{FF2B5EF4-FFF2-40B4-BE49-F238E27FC236}">
                <a16:creationId xmlns:a16="http://schemas.microsoft.com/office/drawing/2014/main" id="{2454E598-343F-41EB-AE9A-F24DF23669D2}"/>
              </a:ext>
            </a:extLst>
          </p:cNvPr>
          <p:cNvSpPr/>
          <p:nvPr/>
        </p:nvSpPr>
        <p:spPr>
          <a:xfrm>
            <a:off x="990718" y="1556438"/>
            <a:ext cx="320570" cy="320550"/>
          </a:xfrm>
          <a:custGeom>
            <a:avLst/>
            <a:gdLst>
              <a:gd name="connsiteX0" fmla="*/ 95278 w 438177"/>
              <a:gd name="connsiteY0" fmla="*/ 0 h 438150"/>
              <a:gd name="connsiteX1" fmla="*/ 47653 w 438177"/>
              <a:gd name="connsiteY1" fmla="*/ 47625 h 438150"/>
              <a:gd name="connsiteX2" fmla="*/ 95278 w 438177"/>
              <a:gd name="connsiteY2" fmla="*/ 95250 h 438150"/>
              <a:gd name="connsiteX3" fmla="*/ 142903 w 438177"/>
              <a:gd name="connsiteY3" fmla="*/ 47625 h 438150"/>
              <a:gd name="connsiteX4" fmla="*/ 95278 w 438177"/>
              <a:gd name="connsiteY4" fmla="*/ 0 h 438150"/>
              <a:gd name="connsiteX5" fmla="*/ 257203 w 438177"/>
              <a:gd name="connsiteY5" fmla="*/ 0 h 438150"/>
              <a:gd name="connsiteX6" fmla="*/ 257203 w 438177"/>
              <a:gd name="connsiteY6" fmla="*/ 19050 h 438150"/>
              <a:gd name="connsiteX7" fmla="*/ 161953 w 438177"/>
              <a:gd name="connsiteY7" fmla="*/ 19050 h 438150"/>
              <a:gd name="connsiteX8" fmla="*/ 161953 w 438177"/>
              <a:gd name="connsiteY8" fmla="*/ 38100 h 438150"/>
              <a:gd name="connsiteX9" fmla="*/ 419128 w 438177"/>
              <a:gd name="connsiteY9" fmla="*/ 38100 h 438150"/>
              <a:gd name="connsiteX10" fmla="*/ 419128 w 438177"/>
              <a:gd name="connsiteY10" fmla="*/ 285750 h 438150"/>
              <a:gd name="connsiteX11" fmla="*/ 171478 w 438177"/>
              <a:gd name="connsiteY11" fmla="*/ 285750 h 438150"/>
              <a:gd name="connsiteX12" fmla="*/ 171478 w 438177"/>
              <a:gd name="connsiteY12" fmla="*/ 304800 h 438150"/>
              <a:gd name="connsiteX13" fmla="*/ 252440 w 438177"/>
              <a:gd name="connsiteY13" fmla="*/ 304800 h 438150"/>
              <a:gd name="connsiteX14" fmla="*/ 200053 w 438177"/>
              <a:gd name="connsiteY14" fmla="*/ 409575 h 438150"/>
              <a:gd name="connsiteX15" fmla="*/ 219103 w 438177"/>
              <a:gd name="connsiteY15" fmla="*/ 409575 h 438150"/>
              <a:gd name="connsiteX16" fmla="*/ 266728 w 438177"/>
              <a:gd name="connsiteY16" fmla="*/ 314325 h 438150"/>
              <a:gd name="connsiteX17" fmla="*/ 314353 w 438177"/>
              <a:gd name="connsiteY17" fmla="*/ 409575 h 438150"/>
              <a:gd name="connsiteX18" fmla="*/ 333403 w 438177"/>
              <a:gd name="connsiteY18" fmla="*/ 409575 h 438150"/>
              <a:gd name="connsiteX19" fmla="*/ 281015 w 438177"/>
              <a:gd name="connsiteY19" fmla="*/ 304800 h 438150"/>
              <a:gd name="connsiteX20" fmla="*/ 428653 w 438177"/>
              <a:gd name="connsiteY20" fmla="*/ 304800 h 438150"/>
              <a:gd name="connsiteX21" fmla="*/ 438178 w 438177"/>
              <a:gd name="connsiteY21" fmla="*/ 295275 h 438150"/>
              <a:gd name="connsiteX22" fmla="*/ 438178 w 438177"/>
              <a:gd name="connsiteY22" fmla="*/ 28575 h 438150"/>
              <a:gd name="connsiteX23" fmla="*/ 428653 w 438177"/>
              <a:gd name="connsiteY23" fmla="*/ 19050 h 438150"/>
              <a:gd name="connsiteX24" fmla="*/ 276253 w 438177"/>
              <a:gd name="connsiteY24" fmla="*/ 19050 h 438150"/>
              <a:gd name="connsiteX25" fmla="*/ 276253 w 438177"/>
              <a:gd name="connsiteY25" fmla="*/ 0 h 438150"/>
              <a:gd name="connsiteX26" fmla="*/ 95278 w 438177"/>
              <a:gd name="connsiteY26" fmla="*/ 19050 h 438150"/>
              <a:gd name="connsiteX27" fmla="*/ 123853 w 438177"/>
              <a:gd name="connsiteY27" fmla="*/ 47625 h 438150"/>
              <a:gd name="connsiteX28" fmla="*/ 95278 w 438177"/>
              <a:gd name="connsiteY28" fmla="*/ 76200 h 438150"/>
              <a:gd name="connsiteX29" fmla="*/ 66703 w 438177"/>
              <a:gd name="connsiteY29" fmla="*/ 47625 h 438150"/>
              <a:gd name="connsiteX30" fmla="*/ 95278 w 438177"/>
              <a:gd name="connsiteY30" fmla="*/ 19050 h 438150"/>
              <a:gd name="connsiteX31" fmla="*/ 52415 w 438177"/>
              <a:gd name="connsiteY31" fmla="*/ 104775 h 438150"/>
              <a:gd name="connsiteX32" fmla="*/ 28 w 438177"/>
              <a:gd name="connsiteY32" fmla="*/ 157163 h 438150"/>
              <a:gd name="connsiteX33" fmla="*/ 28 w 438177"/>
              <a:gd name="connsiteY33" fmla="*/ 274439 h 438150"/>
              <a:gd name="connsiteX34" fmla="*/ 28 w 438177"/>
              <a:gd name="connsiteY34" fmla="*/ 275630 h 438150"/>
              <a:gd name="connsiteX35" fmla="*/ 28 w 438177"/>
              <a:gd name="connsiteY35" fmla="*/ 276225 h 438150"/>
              <a:gd name="connsiteX36" fmla="*/ 326 w 438177"/>
              <a:gd name="connsiteY36" fmla="*/ 278904 h 438150"/>
              <a:gd name="connsiteX37" fmla="*/ 28603 w 438177"/>
              <a:gd name="connsiteY37" fmla="*/ 304800 h 438150"/>
              <a:gd name="connsiteX38" fmla="*/ 38128 w 438177"/>
              <a:gd name="connsiteY38" fmla="*/ 303014 h 438150"/>
              <a:gd name="connsiteX39" fmla="*/ 38128 w 438177"/>
              <a:gd name="connsiteY39" fmla="*/ 404813 h 438150"/>
              <a:gd name="connsiteX40" fmla="*/ 71465 w 438177"/>
              <a:gd name="connsiteY40" fmla="*/ 438150 h 438150"/>
              <a:gd name="connsiteX41" fmla="*/ 95278 w 438177"/>
              <a:gd name="connsiteY41" fmla="*/ 428030 h 438150"/>
              <a:gd name="connsiteX42" fmla="*/ 119090 w 438177"/>
              <a:gd name="connsiteY42" fmla="*/ 438150 h 438150"/>
              <a:gd name="connsiteX43" fmla="*/ 152428 w 438177"/>
              <a:gd name="connsiteY43" fmla="*/ 404813 h 438150"/>
              <a:gd name="connsiteX44" fmla="*/ 152428 w 438177"/>
              <a:gd name="connsiteY44" fmla="*/ 161925 h 438150"/>
              <a:gd name="connsiteX45" fmla="*/ 257203 w 438177"/>
              <a:gd name="connsiteY45" fmla="*/ 161925 h 438150"/>
              <a:gd name="connsiteX46" fmla="*/ 285778 w 438177"/>
              <a:gd name="connsiteY46" fmla="*/ 133350 h 438150"/>
              <a:gd name="connsiteX47" fmla="*/ 257798 w 438177"/>
              <a:gd name="connsiteY47" fmla="*/ 104775 h 438150"/>
              <a:gd name="connsiteX48" fmla="*/ 257203 w 438177"/>
              <a:gd name="connsiteY48" fmla="*/ 104775 h 438150"/>
              <a:gd name="connsiteX49" fmla="*/ 123853 w 438177"/>
              <a:gd name="connsiteY49" fmla="*/ 104775 h 438150"/>
              <a:gd name="connsiteX50" fmla="*/ 115221 w 438177"/>
              <a:gd name="connsiteY50" fmla="*/ 110133 h 438150"/>
              <a:gd name="connsiteX51" fmla="*/ 95278 w 438177"/>
              <a:gd name="connsiteY51" fmla="*/ 150019 h 438150"/>
              <a:gd name="connsiteX52" fmla="*/ 75335 w 438177"/>
              <a:gd name="connsiteY52" fmla="*/ 110133 h 438150"/>
              <a:gd name="connsiteX53" fmla="*/ 66703 w 438177"/>
              <a:gd name="connsiteY53" fmla="*/ 104775 h 438150"/>
              <a:gd name="connsiteX54" fmla="*/ 52415 w 438177"/>
              <a:gd name="connsiteY54" fmla="*/ 123825 h 438150"/>
              <a:gd name="connsiteX55" fmla="*/ 60750 w 438177"/>
              <a:gd name="connsiteY55" fmla="*/ 123825 h 438150"/>
              <a:gd name="connsiteX56" fmla="*/ 86646 w 438177"/>
              <a:gd name="connsiteY56" fmla="*/ 175617 h 438150"/>
              <a:gd name="connsiteX57" fmla="*/ 95278 w 438177"/>
              <a:gd name="connsiteY57" fmla="*/ 181124 h 438150"/>
              <a:gd name="connsiteX58" fmla="*/ 103910 w 438177"/>
              <a:gd name="connsiteY58" fmla="*/ 175617 h 438150"/>
              <a:gd name="connsiteX59" fmla="*/ 129806 w 438177"/>
              <a:gd name="connsiteY59" fmla="*/ 123825 h 438150"/>
              <a:gd name="connsiteX60" fmla="*/ 257203 w 438177"/>
              <a:gd name="connsiteY60" fmla="*/ 123825 h 438150"/>
              <a:gd name="connsiteX61" fmla="*/ 258096 w 438177"/>
              <a:gd name="connsiteY61" fmla="*/ 123825 h 438150"/>
              <a:gd name="connsiteX62" fmla="*/ 266728 w 438177"/>
              <a:gd name="connsiteY62" fmla="*/ 133350 h 438150"/>
              <a:gd name="connsiteX63" fmla="*/ 257203 w 438177"/>
              <a:gd name="connsiteY63" fmla="*/ 142875 h 438150"/>
              <a:gd name="connsiteX64" fmla="*/ 142903 w 438177"/>
              <a:gd name="connsiteY64" fmla="*/ 142875 h 438150"/>
              <a:gd name="connsiteX65" fmla="*/ 133378 w 438177"/>
              <a:gd name="connsiteY65" fmla="*/ 152400 h 438150"/>
              <a:gd name="connsiteX66" fmla="*/ 133378 w 438177"/>
              <a:gd name="connsiteY66" fmla="*/ 404813 h 438150"/>
              <a:gd name="connsiteX67" fmla="*/ 119090 w 438177"/>
              <a:gd name="connsiteY67" fmla="*/ 419100 h 438150"/>
              <a:gd name="connsiteX68" fmla="*/ 104803 w 438177"/>
              <a:gd name="connsiteY68" fmla="*/ 406301 h 438150"/>
              <a:gd name="connsiteX69" fmla="*/ 104803 w 438177"/>
              <a:gd name="connsiteY69" fmla="*/ 403920 h 438150"/>
              <a:gd name="connsiteX70" fmla="*/ 104803 w 438177"/>
              <a:gd name="connsiteY70" fmla="*/ 403027 h 438150"/>
              <a:gd name="connsiteX71" fmla="*/ 104803 w 438177"/>
              <a:gd name="connsiteY71" fmla="*/ 304800 h 438150"/>
              <a:gd name="connsiteX72" fmla="*/ 101826 w 438177"/>
              <a:gd name="connsiteY72" fmla="*/ 297545 h 438150"/>
              <a:gd name="connsiteX73" fmla="*/ 94385 w 438177"/>
              <a:gd name="connsiteY73" fmla="*/ 294977 h 438150"/>
              <a:gd name="connsiteX74" fmla="*/ 93194 w 438177"/>
              <a:gd name="connsiteY74" fmla="*/ 295275 h 438150"/>
              <a:gd name="connsiteX75" fmla="*/ 85753 w 438177"/>
              <a:gd name="connsiteY75" fmla="*/ 304800 h 438150"/>
              <a:gd name="connsiteX76" fmla="*/ 85753 w 438177"/>
              <a:gd name="connsiteY76" fmla="*/ 403027 h 438150"/>
              <a:gd name="connsiteX77" fmla="*/ 85753 w 438177"/>
              <a:gd name="connsiteY77" fmla="*/ 404217 h 438150"/>
              <a:gd name="connsiteX78" fmla="*/ 85753 w 438177"/>
              <a:gd name="connsiteY78" fmla="*/ 406301 h 438150"/>
              <a:gd name="connsiteX79" fmla="*/ 71465 w 438177"/>
              <a:gd name="connsiteY79" fmla="*/ 419100 h 438150"/>
              <a:gd name="connsiteX80" fmla="*/ 57178 w 438177"/>
              <a:gd name="connsiteY80" fmla="*/ 404813 h 438150"/>
              <a:gd name="connsiteX81" fmla="*/ 57178 w 438177"/>
              <a:gd name="connsiteY81" fmla="*/ 180975 h 438150"/>
              <a:gd name="connsiteX82" fmla="*/ 53680 w 438177"/>
              <a:gd name="connsiteY82" fmla="*/ 173385 h 438150"/>
              <a:gd name="connsiteX83" fmla="*/ 45569 w 438177"/>
              <a:gd name="connsiteY83" fmla="*/ 171450 h 438150"/>
              <a:gd name="connsiteX84" fmla="*/ 38128 w 438177"/>
              <a:gd name="connsiteY84" fmla="*/ 180975 h 438150"/>
              <a:gd name="connsiteX85" fmla="*/ 38128 w 438177"/>
              <a:gd name="connsiteY85" fmla="*/ 274737 h 438150"/>
              <a:gd name="connsiteX86" fmla="*/ 38128 w 438177"/>
              <a:gd name="connsiteY86" fmla="*/ 275630 h 438150"/>
              <a:gd name="connsiteX87" fmla="*/ 38128 w 438177"/>
              <a:gd name="connsiteY87" fmla="*/ 276225 h 438150"/>
              <a:gd name="connsiteX88" fmla="*/ 28603 w 438177"/>
              <a:gd name="connsiteY88" fmla="*/ 285750 h 438150"/>
              <a:gd name="connsiteX89" fmla="*/ 19078 w 438177"/>
              <a:gd name="connsiteY89" fmla="*/ 276820 h 438150"/>
              <a:gd name="connsiteX90" fmla="*/ 19078 w 438177"/>
              <a:gd name="connsiteY90" fmla="*/ 276225 h 438150"/>
              <a:gd name="connsiteX91" fmla="*/ 19078 w 438177"/>
              <a:gd name="connsiteY91" fmla="*/ 274439 h 438150"/>
              <a:gd name="connsiteX92" fmla="*/ 19078 w 438177"/>
              <a:gd name="connsiteY92" fmla="*/ 157163 h 438150"/>
              <a:gd name="connsiteX93" fmla="*/ 52415 w 438177"/>
              <a:gd name="connsiteY93" fmla="*/ 1238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8177" h="438150">
                <a:moveTo>
                  <a:pt x="95278" y="0"/>
                </a:moveTo>
                <a:cubicBezTo>
                  <a:pt x="69084" y="0"/>
                  <a:pt x="47653" y="21431"/>
                  <a:pt x="47653" y="47625"/>
                </a:cubicBezTo>
                <a:cubicBezTo>
                  <a:pt x="47653" y="73819"/>
                  <a:pt x="69084" y="95250"/>
                  <a:pt x="95278" y="95250"/>
                </a:cubicBezTo>
                <a:cubicBezTo>
                  <a:pt x="121472" y="95250"/>
                  <a:pt x="142903" y="73819"/>
                  <a:pt x="142903" y="47625"/>
                </a:cubicBezTo>
                <a:cubicBezTo>
                  <a:pt x="142903" y="21431"/>
                  <a:pt x="121472" y="0"/>
                  <a:pt x="95278" y="0"/>
                </a:cubicBezTo>
                <a:close/>
                <a:moveTo>
                  <a:pt x="257203" y="0"/>
                </a:moveTo>
                <a:lnTo>
                  <a:pt x="257203" y="19050"/>
                </a:lnTo>
                <a:lnTo>
                  <a:pt x="161953" y="19050"/>
                </a:lnTo>
                <a:lnTo>
                  <a:pt x="161953" y="38100"/>
                </a:lnTo>
                <a:lnTo>
                  <a:pt x="419128" y="38100"/>
                </a:lnTo>
                <a:lnTo>
                  <a:pt x="419128" y="285750"/>
                </a:lnTo>
                <a:lnTo>
                  <a:pt x="171478" y="285750"/>
                </a:lnTo>
                <a:lnTo>
                  <a:pt x="171478" y="304800"/>
                </a:lnTo>
                <a:lnTo>
                  <a:pt x="252440" y="304800"/>
                </a:lnTo>
                <a:lnTo>
                  <a:pt x="200053" y="409575"/>
                </a:lnTo>
                <a:lnTo>
                  <a:pt x="219103" y="409575"/>
                </a:lnTo>
                <a:lnTo>
                  <a:pt x="266728" y="314325"/>
                </a:lnTo>
                <a:lnTo>
                  <a:pt x="314353" y="409575"/>
                </a:lnTo>
                <a:lnTo>
                  <a:pt x="333403" y="409575"/>
                </a:lnTo>
                <a:lnTo>
                  <a:pt x="281015" y="304800"/>
                </a:lnTo>
                <a:lnTo>
                  <a:pt x="428653" y="304800"/>
                </a:lnTo>
                <a:cubicBezTo>
                  <a:pt x="433899" y="304800"/>
                  <a:pt x="438178" y="300521"/>
                  <a:pt x="438178" y="295275"/>
                </a:cubicBezTo>
                <a:lnTo>
                  <a:pt x="438178" y="28575"/>
                </a:lnTo>
                <a:cubicBezTo>
                  <a:pt x="438178" y="23329"/>
                  <a:pt x="433899" y="19050"/>
                  <a:pt x="428653" y="19050"/>
                </a:cubicBezTo>
                <a:lnTo>
                  <a:pt x="276253" y="19050"/>
                </a:lnTo>
                <a:lnTo>
                  <a:pt x="276253" y="0"/>
                </a:lnTo>
                <a:close/>
                <a:moveTo>
                  <a:pt x="95278" y="19050"/>
                </a:moveTo>
                <a:cubicBezTo>
                  <a:pt x="111165" y="19050"/>
                  <a:pt x="123853" y="31738"/>
                  <a:pt x="123853" y="47625"/>
                </a:cubicBezTo>
                <a:cubicBezTo>
                  <a:pt x="123853" y="63512"/>
                  <a:pt x="111165" y="76200"/>
                  <a:pt x="95278" y="76200"/>
                </a:cubicBezTo>
                <a:cubicBezTo>
                  <a:pt x="79391" y="76200"/>
                  <a:pt x="66703" y="63512"/>
                  <a:pt x="66703" y="47625"/>
                </a:cubicBezTo>
                <a:cubicBezTo>
                  <a:pt x="66703" y="31738"/>
                  <a:pt x="79391" y="19050"/>
                  <a:pt x="95278" y="19050"/>
                </a:cubicBezTo>
                <a:close/>
                <a:moveTo>
                  <a:pt x="52415" y="104775"/>
                </a:moveTo>
                <a:cubicBezTo>
                  <a:pt x="23580" y="104775"/>
                  <a:pt x="28" y="128327"/>
                  <a:pt x="28" y="157163"/>
                </a:cubicBezTo>
                <a:lnTo>
                  <a:pt x="28" y="274439"/>
                </a:lnTo>
                <a:cubicBezTo>
                  <a:pt x="-9" y="274848"/>
                  <a:pt x="-9" y="275220"/>
                  <a:pt x="28" y="275630"/>
                </a:cubicBezTo>
                <a:lnTo>
                  <a:pt x="28" y="276225"/>
                </a:lnTo>
                <a:cubicBezTo>
                  <a:pt x="-9" y="277118"/>
                  <a:pt x="102" y="278048"/>
                  <a:pt x="326" y="278904"/>
                </a:cubicBezTo>
                <a:cubicBezTo>
                  <a:pt x="1739" y="293303"/>
                  <a:pt x="13869" y="304800"/>
                  <a:pt x="28603" y="304800"/>
                </a:cubicBezTo>
                <a:cubicBezTo>
                  <a:pt x="31952" y="304800"/>
                  <a:pt x="35114" y="304093"/>
                  <a:pt x="38128" y="303014"/>
                </a:cubicBezTo>
                <a:lnTo>
                  <a:pt x="38128" y="404813"/>
                </a:lnTo>
                <a:cubicBezTo>
                  <a:pt x="38128" y="423118"/>
                  <a:pt x="53160" y="438150"/>
                  <a:pt x="71465" y="438150"/>
                </a:cubicBezTo>
                <a:cubicBezTo>
                  <a:pt x="80767" y="438150"/>
                  <a:pt x="89213" y="434243"/>
                  <a:pt x="95278" y="428030"/>
                </a:cubicBezTo>
                <a:cubicBezTo>
                  <a:pt x="101343" y="434243"/>
                  <a:pt x="109789" y="438150"/>
                  <a:pt x="119090" y="438150"/>
                </a:cubicBezTo>
                <a:cubicBezTo>
                  <a:pt x="137396" y="438150"/>
                  <a:pt x="152428" y="423118"/>
                  <a:pt x="152428" y="404813"/>
                </a:cubicBezTo>
                <a:lnTo>
                  <a:pt x="152428" y="161925"/>
                </a:lnTo>
                <a:lnTo>
                  <a:pt x="257203" y="161925"/>
                </a:lnTo>
                <a:cubicBezTo>
                  <a:pt x="272867" y="161925"/>
                  <a:pt x="285778" y="149014"/>
                  <a:pt x="285778" y="133350"/>
                </a:cubicBezTo>
                <a:cubicBezTo>
                  <a:pt x="285778" y="117872"/>
                  <a:pt x="273202" y="105110"/>
                  <a:pt x="257798" y="104775"/>
                </a:cubicBezTo>
                <a:cubicBezTo>
                  <a:pt x="257612" y="104775"/>
                  <a:pt x="257389" y="104775"/>
                  <a:pt x="257203" y="104775"/>
                </a:cubicBezTo>
                <a:lnTo>
                  <a:pt x="123853" y="104775"/>
                </a:lnTo>
                <a:cubicBezTo>
                  <a:pt x="120169" y="104738"/>
                  <a:pt x="116821" y="106821"/>
                  <a:pt x="115221" y="110133"/>
                </a:cubicBezTo>
                <a:lnTo>
                  <a:pt x="95278" y="150019"/>
                </a:lnTo>
                <a:lnTo>
                  <a:pt x="75335" y="110133"/>
                </a:lnTo>
                <a:cubicBezTo>
                  <a:pt x="73735" y="106821"/>
                  <a:pt x="70386" y="104738"/>
                  <a:pt x="66703" y="104775"/>
                </a:cubicBezTo>
                <a:close/>
                <a:moveTo>
                  <a:pt x="52415" y="123825"/>
                </a:moveTo>
                <a:lnTo>
                  <a:pt x="60750" y="123825"/>
                </a:lnTo>
                <a:lnTo>
                  <a:pt x="86646" y="175617"/>
                </a:lnTo>
                <a:cubicBezTo>
                  <a:pt x="88209" y="178966"/>
                  <a:pt x="91594" y="181124"/>
                  <a:pt x="95278" y="181124"/>
                </a:cubicBezTo>
                <a:cubicBezTo>
                  <a:pt x="98961" y="181124"/>
                  <a:pt x="102347" y="178966"/>
                  <a:pt x="103910" y="175617"/>
                </a:cubicBezTo>
                <a:lnTo>
                  <a:pt x="129806" y="123825"/>
                </a:lnTo>
                <a:lnTo>
                  <a:pt x="257203" y="123825"/>
                </a:lnTo>
                <a:cubicBezTo>
                  <a:pt x="257501" y="123825"/>
                  <a:pt x="257798" y="123825"/>
                  <a:pt x="258096" y="123825"/>
                </a:cubicBezTo>
                <a:cubicBezTo>
                  <a:pt x="263044" y="124271"/>
                  <a:pt x="266728" y="128290"/>
                  <a:pt x="266728" y="133350"/>
                </a:cubicBezTo>
                <a:cubicBezTo>
                  <a:pt x="266728" y="138745"/>
                  <a:pt x="262598" y="142875"/>
                  <a:pt x="257203" y="142875"/>
                </a:cubicBezTo>
                <a:lnTo>
                  <a:pt x="142903" y="142875"/>
                </a:lnTo>
                <a:cubicBezTo>
                  <a:pt x="137657" y="142875"/>
                  <a:pt x="133378" y="147154"/>
                  <a:pt x="133378" y="152400"/>
                </a:cubicBezTo>
                <a:lnTo>
                  <a:pt x="133378" y="404813"/>
                </a:lnTo>
                <a:cubicBezTo>
                  <a:pt x="133378" y="412812"/>
                  <a:pt x="127090" y="419100"/>
                  <a:pt x="119090" y="419100"/>
                </a:cubicBezTo>
                <a:cubicBezTo>
                  <a:pt x="111575" y="419100"/>
                  <a:pt x="105510" y="413593"/>
                  <a:pt x="104803" y="406301"/>
                </a:cubicBezTo>
                <a:lnTo>
                  <a:pt x="104803" y="403920"/>
                </a:lnTo>
                <a:cubicBezTo>
                  <a:pt x="104803" y="403622"/>
                  <a:pt x="104803" y="403324"/>
                  <a:pt x="104803" y="403027"/>
                </a:cubicBezTo>
                <a:lnTo>
                  <a:pt x="104803" y="304800"/>
                </a:lnTo>
                <a:cubicBezTo>
                  <a:pt x="104915" y="302047"/>
                  <a:pt x="103798" y="299405"/>
                  <a:pt x="101826" y="297545"/>
                </a:cubicBezTo>
                <a:cubicBezTo>
                  <a:pt x="99817" y="295647"/>
                  <a:pt x="97101" y="294717"/>
                  <a:pt x="94385" y="294977"/>
                </a:cubicBezTo>
                <a:cubicBezTo>
                  <a:pt x="93976" y="295052"/>
                  <a:pt x="93566" y="295163"/>
                  <a:pt x="93194" y="295275"/>
                </a:cubicBezTo>
                <a:cubicBezTo>
                  <a:pt x="88767" y="296280"/>
                  <a:pt x="85641" y="300261"/>
                  <a:pt x="85753" y="304800"/>
                </a:cubicBezTo>
                <a:lnTo>
                  <a:pt x="85753" y="403027"/>
                </a:lnTo>
                <a:cubicBezTo>
                  <a:pt x="85716" y="403436"/>
                  <a:pt x="85716" y="403808"/>
                  <a:pt x="85753" y="404217"/>
                </a:cubicBezTo>
                <a:lnTo>
                  <a:pt x="85753" y="406301"/>
                </a:lnTo>
                <a:cubicBezTo>
                  <a:pt x="85046" y="413593"/>
                  <a:pt x="78981" y="419100"/>
                  <a:pt x="71465" y="419100"/>
                </a:cubicBezTo>
                <a:cubicBezTo>
                  <a:pt x="63466" y="419100"/>
                  <a:pt x="57178" y="412812"/>
                  <a:pt x="57178" y="404813"/>
                </a:cubicBezTo>
                <a:lnTo>
                  <a:pt x="57178" y="180975"/>
                </a:lnTo>
                <a:cubicBezTo>
                  <a:pt x="57252" y="178036"/>
                  <a:pt x="55950" y="175245"/>
                  <a:pt x="53680" y="173385"/>
                </a:cubicBezTo>
                <a:cubicBezTo>
                  <a:pt x="51448" y="171524"/>
                  <a:pt x="48434" y="170817"/>
                  <a:pt x="45569" y="171450"/>
                </a:cubicBezTo>
                <a:cubicBezTo>
                  <a:pt x="41142" y="172455"/>
                  <a:pt x="38016" y="176436"/>
                  <a:pt x="38128" y="180975"/>
                </a:cubicBezTo>
                <a:lnTo>
                  <a:pt x="38128" y="274737"/>
                </a:lnTo>
                <a:cubicBezTo>
                  <a:pt x="38128" y="275034"/>
                  <a:pt x="38128" y="275332"/>
                  <a:pt x="38128" y="275630"/>
                </a:cubicBezTo>
                <a:lnTo>
                  <a:pt x="38128" y="276225"/>
                </a:lnTo>
                <a:cubicBezTo>
                  <a:pt x="38128" y="281620"/>
                  <a:pt x="33998" y="285750"/>
                  <a:pt x="28603" y="285750"/>
                </a:cubicBezTo>
                <a:cubicBezTo>
                  <a:pt x="23431" y="285750"/>
                  <a:pt x="19376" y="281918"/>
                  <a:pt x="19078" y="276820"/>
                </a:cubicBezTo>
                <a:cubicBezTo>
                  <a:pt x="19078" y="276634"/>
                  <a:pt x="19078" y="276411"/>
                  <a:pt x="19078" y="276225"/>
                </a:cubicBezTo>
                <a:cubicBezTo>
                  <a:pt x="19152" y="275630"/>
                  <a:pt x="19152" y="275034"/>
                  <a:pt x="19078" y="274439"/>
                </a:cubicBezTo>
                <a:lnTo>
                  <a:pt x="19078" y="157163"/>
                </a:lnTo>
                <a:cubicBezTo>
                  <a:pt x="19078" y="138633"/>
                  <a:pt x="33886" y="123825"/>
                  <a:pt x="52415" y="123825"/>
                </a:cubicBezTo>
                <a:close/>
              </a:path>
            </a:pathLst>
          </a:custGeom>
          <a:solidFill>
            <a:schemeClr val="bg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133"/>
          </a:p>
        </p:txBody>
      </p:sp>
      <p:sp>
        <p:nvSpPr>
          <p:cNvPr id="55" name="Pentagon 23">
            <a:extLst>
              <a:ext uri="{FF2B5EF4-FFF2-40B4-BE49-F238E27FC236}">
                <a16:creationId xmlns:a16="http://schemas.microsoft.com/office/drawing/2014/main" id="{6F4F90CC-D6D0-478E-A1B4-7C73E42248DB}"/>
              </a:ext>
            </a:extLst>
          </p:cNvPr>
          <p:cNvSpPr/>
          <p:nvPr/>
        </p:nvSpPr>
        <p:spPr>
          <a:xfrm>
            <a:off x="1145628" y="218858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OOP recap</a:t>
            </a:r>
          </a:p>
        </p:txBody>
      </p:sp>
      <p:sp>
        <p:nvSpPr>
          <p:cNvPr id="57" name="Oval 56">
            <a:extLst>
              <a:ext uri="{FF2B5EF4-FFF2-40B4-BE49-F238E27FC236}">
                <a16:creationId xmlns:a16="http://schemas.microsoft.com/office/drawing/2014/main" id="{A4320068-0C27-C478-1818-659D6E54ABB3}"/>
              </a:ext>
            </a:extLst>
          </p:cNvPr>
          <p:cNvSpPr/>
          <p:nvPr/>
        </p:nvSpPr>
        <p:spPr>
          <a:xfrm>
            <a:off x="839218" y="219320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5" name="Pentagon 23">
            <a:extLst>
              <a:ext uri="{FF2B5EF4-FFF2-40B4-BE49-F238E27FC236}">
                <a16:creationId xmlns:a16="http://schemas.microsoft.com/office/drawing/2014/main" id="{4DF64A59-F14B-6897-5DA8-4518E033B3A1}"/>
              </a:ext>
            </a:extLst>
          </p:cNvPr>
          <p:cNvSpPr/>
          <p:nvPr/>
        </p:nvSpPr>
        <p:spPr>
          <a:xfrm>
            <a:off x="1125637" y="297224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US" sz="2133" b="1" kern="0">
                <a:cs typeface="Arial" panose="020B0604020202020204" pitchFamily="34" charset="0"/>
              </a:rPr>
              <a:t>From OOP to MVC Pattern</a:t>
            </a:r>
            <a:endParaRPr lang="en-IN" sz="2133" b="1" kern="0">
              <a:cs typeface="Arial" panose="020B0604020202020204" pitchFamily="34" charset="0"/>
            </a:endParaRPr>
          </a:p>
        </p:txBody>
      </p:sp>
      <p:sp>
        <p:nvSpPr>
          <p:cNvPr id="67" name="Oval 66">
            <a:extLst>
              <a:ext uri="{FF2B5EF4-FFF2-40B4-BE49-F238E27FC236}">
                <a16:creationId xmlns:a16="http://schemas.microsoft.com/office/drawing/2014/main" id="{32E4ECB2-EF44-3F75-2577-EA5AF77003E1}"/>
              </a:ext>
            </a:extLst>
          </p:cNvPr>
          <p:cNvSpPr/>
          <p:nvPr/>
        </p:nvSpPr>
        <p:spPr>
          <a:xfrm>
            <a:off x="819227" y="297686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9" name="Pentagon 23">
            <a:extLst>
              <a:ext uri="{FF2B5EF4-FFF2-40B4-BE49-F238E27FC236}">
                <a16:creationId xmlns:a16="http://schemas.microsoft.com/office/drawing/2014/main" id="{FE52C954-768F-3FCA-7622-C82F5057646A}"/>
              </a:ext>
            </a:extLst>
          </p:cNvPr>
          <p:cNvSpPr/>
          <p:nvPr/>
        </p:nvSpPr>
        <p:spPr>
          <a:xfrm>
            <a:off x="1145628" y="375128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chemeClr val="accent4"/>
                </a:solidFill>
                <a:cs typeface="Arial" panose="020B0604020202020204" pitchFamily="34" charset="0"/>
              </a:rPr>
              <a:t>Introduction to Design Pattern</a:t>
            </a:r>
          </a:p>
        </p:txBody>
      </p:sp>
      <p:sp>
        <p:nvSpPr>
          <p:cNvPr id="71" name="Oval 70">
            <a:extLst>
              <a:ext uri="{FF2B5EF4-FFF2-40B4-BE49-F238E27FC236}">
                <a16:creationId xmlns:a16="http://schemas.microsoft.com/office/drawing/2014/main" id="{6EB4E7E0-3C85-1975-BB96-8679FE863E33}"/>
              </a:ext>
            </a:extLst>
          </p:cNvPr>
          <p:cNvSpPr/>
          <p:nvPr/>
        </p:nvSpPr>
        <p:spPr>
          <a:xfrm>
            <a:off x="839218" y="3755902"/>
            <a:ext cx="623570" cy="623570"/>
          </a:xfrm>
          <a:prstGeom prst="ellipse">
            <a:avLst/>
          </a:prstGeom>
          <a:solidFill>
            <a:schemeClr val="accent4"/>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3" name="Pentagon 23">
            <a:extLst>
              <a:ext uri="{FF2B5EF4-FFF2-40B4-BE49-F238E27FC236}">
                <a16:creationId xmlns:a16="http://schemas.microsoft.com/office/drawing/2014/main" id="{A0DF5099-3F9D-FD74-E8AC-C3C8489FECAD}"/>
              </a:ext>
            </a:extLst>
          </p:cNvPr>
          <p:cNvSpPr/>
          <p:nvPr/>
        </p:nvSpPr>
        <p:spPr>
          <a:xfrm>
            <a:off x="1145628" y="452570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Summarize	</a:t>
            </a:r>
          </a:p>
        </p:txBody>
      </p:sp>
      <p:sp>
        <p:nvSpPr>
          <p:cNvPr id="75" name="Oval 74">
            <a:extLst>
              <a:ext uri="{FF2B5EF4-FFF2-40B4-BE49-F238E27FC236}">
                <a16:creationId xmlns:a16="http://schemas.microsoft.com/office/drawing/2014/main" id="{C4A0805E-7274-BF67-74AF-E5037B91C888}"/>
              </a:ext>
            </a:extLst>
          </p:cNvPr>
          <p:cNvSpPr/>
          <p:nvPr/>
        </p:nvSpPr>
        <p:spPr>
          <a:xfrm>
            <a:off x="839218" y="453032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7" name="Pentagon 23">
            <a:extLst>
              <a:ext uri="{FF2B5EF4-FFF2-40B4-BE49-F238E27FC236}">
                <a16:creationId xmlns:a16="http://schemas.microsoft.com/office/drawing/2014/main" id="{1C8CEF69-E7A2-2D0D-33AB-7E2E99D02DD6}"/>
              </a:ext>
            </a:extLst>
          </p:cNvPr>
          <p:cNvSpPr/>
          <p:nvPr/>
        </p:nvSpPr>
        <p:spPr>
          <a:xfrm>
            <a:off x="1145628" y="52955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Q&amp;A</a:t>
            </a:r>
          </a:p>
        </p:txBody>
      </p:sp>
      <p:sp>
        <p:nvSpPr>
          <p:cNvPr id="79" name="Oval 78">
            <a:extLst>
              <a:ext uri="{FF2B5EF4-FFF2-40B4-BE49-F238E27FC236}">
                <a16:creationId xmlns:a16="http://schemas.microsoft.com/office/drawing/2014/main" id="{F2ED4571-F02C-1835-A1E6-C3F83E39CEB0}"/>
              </a:ext>
            </a:extLst>
          </p:cNvPr>
          <p:cNvSpPr/>
          <p:nvPr/>
        </p:nvSpPr>
        <p:spPr>
          <a:xfrm>
            <a:off x="839218" y="53001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pic>
        <p:nvPicPr>
          <p:cNvPr id="82" name="Graphic 81" descr="Link with solid fill">
            <a:extLst>
              <a:ext uri="{FF2B5EF4-FFF2-40B4-BE49-F238E27FC236}">
                <a16:creationId xmlns:a16="http://schemas.microsoft.com/office/drawing/2014/main" id="{C2F0AFED-92B1-95CF-879E-FC0A87C46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987" y="3092622"/>
            <a:ext cx="392051" cy="392051"/>
          </a:xfrm>
          <a:prstGeom prst="rect">
            <a:avLst/>
          </a:prstGeom>
        </p:spPr>
      </p:pic>
      <p:pic>
        <p:nvPicPr>
          <p:cNvPr id="84" name="Graphic 83" descr="Beginning with solid fill">
            <a:extLst>
              <a:ext uri="{FF2B5EF4-FFF2-40B4-BE49-F238E27FC236}">
                <a16:creationId xmlns:a16="http://schemas.microsoft.com/office/drawing/2014/main" id="{8943C64C-301A-050E-AA8B-1A7E381B25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2853" y="2316839"/>
            <a:ext cx="376301" cy="376301"/>
          </a:xfrm>
          <a:prstGeom prst="rect">
            <a:avLst/>
          </a:prstGeom>
        </p:spPr>
      </p:pic>
      <p:pic>
        <p:nvPicPr>
          <p:cNvPr id="86" name="Graphic 85" descr="Document with solid fill">
            <a:extLst>
              <a:ext uri="{FF2B5EF4-FFF2-40B4-BE49-F238E27FC236}">
                <a16:creationId xmlns:a16="http://schemas.microsoft.com/office/drawing/2014/main" id="{B284069A-20B2-FE9A-0D4D-212FF7F88D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6129" y="3882813"/>
            <a:ext cx="369748" cy="369748"/>
          </a:xfrm>
          <a:prstGeom prst="rect">
            <a:avLst/>
          </a:prstGeom>
        </p:spPr>
      </p:pic>
      <p:pic>
        <p:nvPicPr>
          <p:cNvPr id="88" name="Graphic 87" descr="Clipboard Partially Checked with solid fill">
            <a:extLst>
              <a:ext uri="{FF2B5EF4-FFF2-40B4-BE49-F238E27FC236}">
                <a16:creationId xmlns:a16="http://schemas.microsoft.com/office/drawing/2014/main" id="{49AB76FA-134A-CF98-5B5C-D1ABE51235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3878" y="4634984"/>
            <a:ext cx="414251" cy="414251"/>
          </a:xfrm>
          <a:prstGeom prst="rect">
            <a:avLst/>
          </a:prstGeom>
        </p:spPr>
      </p:pic>
      <p:pic>
        <p:nvPicPr>
          <p:cNvPr id="90" name="Graphic 89" descr="Customer review with solid fill">
            <a:extLst>
              <a:ext uri="{FF2B5EF4-FFF2-40B4-BE49-F238E27FC236}">
                <a16:creationId xmlns:a16="http://schemas.microsoft.com/office/drawing/2014/main" id="{1F145EE0-CDF6-91BD-28A0-D8FF0CB8B9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751" y="5405661"/>
            <a:ext cx="412505" cy="412505"/>
          </a:xfrm>
          <a:prstGeom prst="rect">
            <a:avLst/>
          </a:prstGeom>
        </p:spPr>
      </p:pic>
    </p:spTree>
    <p:custDataLst>
      <p:tags r:id="rId1"/>
    </p:custDataLst>
    <p:extLst>
      <p:ext uri="{BB962C8B-B14F-4D97-AF65-F5344CB8AC3E}">
        <p14:creationId xmlns:p14="http://schemas.microsoft.com/office/powerpoint/2010/main" val="38878014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1392080" y="2896200"/>
            <a:ext cx="9412800" cy="1065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3000" b="0" i="0" u="none" strike="noStrike" kern="0" cap="none" spc="0" normalizeH="0" baseline="0" noProof="0">
                <a:ln>
                  <a:noFill/>
                </a:ln>
                <a:solidFill>
                  <a:schemeClr val="tx1"/>
                </a:solidFill>
                <a:effectLst/>
                <a:uLnTx/>
                <a:uFillTx/>
                <a:ea typeface="+mn-ea"/>
                <a:cs typeface="Arial" pitchFamily="34"/>
              </a:rPr>
              <a:t>What is Design </a:t>
            </a:r>
            <a:r>
              <a:rPr lang="en-US" sz="3000" kern="0">
                <a:cs typeface="Arial" pitchFamily="34"/>
              </a:rPr>
              <a:t>P</a:t>
            </a:r>
            <a:r>
              <a:rPr kumimoji="0" lang="en-US" sz="3000" b="0" i="0" u="none" strike="noStrike" kern="0" cap="none" spc="0" normalizeH="0" baseline="0" noProof="0" err="1">
                <a:ln>
                  <a:noFill/>
                </a:ln>
                <a:solidFill>
                  <a:schemeClr val="tx1"/>
                </a:solidFill>
                <a:effectLst/>
                <a:uLnTx/>
                <a:uFillTx/>
                <a:ea typeface="+mn-ea"/>
                <a:cs typeface="Arial" pitchFamily="34"/>
              </a:rPr>
              <a:t>attern</a:t>
            </a:r>
            <a:r>
              <a:rPr lang="en-US" sz="3000" kern="0">
                <a:cs typeface="Arial" pitchFamily="34"/>
              </a:rPr>
              <a:t>?</a:t>
            </a:r>
            <a:endParaRPr kumimoji="0" lang="en-US" sz="3000" b="0" i="0" u="none" strike="noStrike" kern="0" cap="none" spc="0" normalizeH="0" baseline="0" noProof="0">
              <a:ln>
                <a:noFill/>
              </a:ln>
              <a:solidFill>
                <a:schemeClr val="tx1"/>
              </a:solidFill>
              <a:effectLst/>
              <a:uLnTx/>
              <a:uFillTx/>
              <a:ea typeface="+mn-ea"/>
              <a:cs typeface="Arial" pitchFamily="34"/>
            </a:endParaRP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10799920" y="2896200"/>
            <a:ext cx="50000" cy="1065600"/>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Tree>
    <p:custDataLst>
      <p:tags r:id="rId1"/>
    </p:custDataLst>
    <p:extLst>
      <p:ext uri="{BB962C8B-B14F-4D97-AF65-F5344CB8AC3E}">
        <p14:creationId xmlns:p14="http://schemas.microsoft.com/office/powerpoint/2010/main" val="31623018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chemeClr val="tx1"/>
                </a:solidFill>
                <a:effectLst/>
                <a:uLnTx/>
                <a:uFillTx/>
                <a:ea typeface="+mn-ea"/>
                <a:cs typeface="Arial" pitchFamily="34"/>
              </a:rPr>
              <a:t>What is Design </a:t>
            </a:r>
            <a:r>
              <a:rPr lang="en-US" sz="1600" kern="0">
                <a:cs typeface="Arial" pitchFamily="34"/>
              </a:rPr>
              <a:t>P</a:t>
            </a:r>
            <a:r>
              <a:rPr kumimoji="0" lang="en-US" sz="1600" b="0" i="0" u="none" strike="noStrike" kern="0" cap="none" spc="0" normalizeH="0" baseline="0" noProof="0" err="1">
                <a:ln>
                  <a:noFill/>
                </a:ln>
                <a:solidFill>
                  <a:schemeClr val="tx1"/>
                </a:solidFill>
                <a:effectLst/>
                <a:uLnTx/>
                <a:uFillTx/>
                <a:ea typeface="+mn-ea"/>
                <a:cs typeface="Arial" pitchFamily="34"/>
              </a:rPr>
              <a:t>attern</a:t>
            </a:r>
            <a:r>
              <a:rPr lang="en-US" sz="1600" kern="0">
                <a:cs typeface="Arial" pitchFamily="34"/>
              </a:rPr>
              <a:t>?</a:t>
            </a:r>
            <a:endParaRPr kumimoji="0" lang="en-US" sz="1600" b="0" i="0" u="none" strike="noStrike" kern="0" cap="none" spc="0" normalizeH="0" baseline="0" noProof="0">
              <a:ln>
                <a:noFill/>
              </a:ln>
              <a:solidFill>
                <a:schemeClr val="tx1"/>
              </a:solidFill>
              <a:effectLst/>
              <a:uLnTx/>
              <a:uFillTx/>
              <a:ea typeface="+mn-ea"/>
              <a:cs typeface="Arial" pitchFamily="34"/>
            </a:endParaRP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2" name="TextBox 1">
            <a:extLst>
              <a:ext uri="{FF2B5EF4-FFF2-40B4-BE49-F238E27FC236}">
                <a16:creationId xmlns:a16="http://schemas.microsoft.com/office/drawing/2014/main" id="{00340C1C-C5A5-C59C-4CF3-A8A32C4DADB5}"/>
              </a:ext>
            </a:extLst>
          </p:cNvPr>
          <p:cNvSpPr txBox="1"/>
          <p:nvPr/>
        </p:nvSpPr>
        <p:spPr>
          <a:xfrm>
            <a:off x="698529" y="2022355"/>
            <a:ext cx="5384467" cy="1900165"/>
          </a:xfrm>
          <a:prstGeom prst="rect">
            <a:avLst/>
          </a:prstGeom>
          <a:noFill/>
          <a:ln>
            <a:solidFill>
              <a:schemeClr val="bg1"/>
            </a:solidFill>
          </a:ln>
        </p:spPr>
        <p:txBody>
          <a:bodyPr wrap="square" lIns="0" tIns="0" rIns="0" bIns="0" rtlCol="0" anchor="t">
            <a:noAutofit/>
          </a:bodyPr>
          <a:lstStyle/>
          <a:p>
            <a:pPr marL="285750" indent="-285750">
              <a:buFont typeface="Arial" panose="020B0604020202020204" pitchFamily="34" charset="0"/>
              <a:buChar char="•"/>
            </a:pPr>
            <a:r>
              <a:rPr lang="en-US"/>
              <a:t>First introduced in 1994 by the Gang Of Four in the book: </a:t>
            </a:r>
            <a:r>
              <a:rPr lang="en-US" b="1">
                <a:effectLst/>
              </a:rPr>
              <a:t>Design Patterns - Elements of Reusable Object-Oriented Software</a:t>
            </a:r>
            <a:r>
              <a:rPr lang="en-US"/>
              <a:t>.</a:t>
            </a:r>
          </a:p>
          <a:p>
            <a:pPr marL="285750" indent="-285750">
              <a:buFont typeface="Arial" panose="020B0604020202020204" pitchFamily="34" charset="0"/>
              <a:buChar char="•"/>
            </a:pPr>
            <a:r>
              <a:rPr lang="en-US"/>
              <a:t>The </a:t>
            </a:r>
            <a:r>
              <a:rPr lang="en-US" b="1">
                <a:effectLst/>
              </a:rPr>
              <a:t>pattern</a:t>
            </a:r>
            <a:r>
              <a:rPr lang="en-US"/>
              <a:t> is not a specific piece of code, but a </a:t>
            </a:r>
            <a:r>
              <a:rPr lang="en-US" b="1">
                <a:effectLst/>
              </a:rPr>
              <a:t>general concept</a:t>
            </a:r>
            <a:r>
              <a:rPr lang="en-US"/>
              <a:t> for solving a particular problem. You can follow the pattern details and implement a solution that </a:t>
            </a:r>
            <a:r>
              <a:rPr lang="en-US" b="1"/>
              <a:t>suits the realities</a:t>
            </a:r>
            <a:r>
              <a:rPr lang="en-US"/>
              <a:t> of your own program.</a:t>
            </a:r>
          </a:p>
          <a:p>
            <a:endParaRPr lang="vi-VN"/>
          </a:p>
        </p:txBody>
      </p:sp>
      <p:sp>
        <p:nvSpPr>
          <p:cNvPr id="6" name="AutoShape 6" descr="Untitled">
            <a:extLst>
              <a:ext uri="{FF2B5EF4-FFF2-40B4-BE49-F238E27FC236}">
                <a16:creationId xmlns:a16="http://schemas.microsoft.com/office/drawing/2014/main" id="{37A0B76A-B6F6-5B01-9D56-48CC7193900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pic>
        <p:nvPicPr>
          <p:cNvPr id="13" name="Picture 12" descr="A group of men standing next to a book">
            <a:extLst>
              <a:ext uri="{FF2B5EF4-FFF2-40B4-BE49-F238E27FC236}">
                <a16:creationId xmlns:a16="http://schemas.microsoft.com/office/drawing/2014/main" id="{2F5D6EA6-938C-7595-0EB7-897ADC8B49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4023" y="1347787"/>
            <a:ext cx="4762500" cy="4467225"/>
          </a:xfrm>
          <a:prstGeom prst="rect">
            <a:avLst/>
          </a:prstGeom>
        </p:spPr>
      </p:pic>
    </p:spTree>
    <p:custDataLst>
      <p:tags r:id="rId1"/>
    </p:custDataLst>
    <p:extLst>
      <p:ext uri="{BB962C8B-B14F-4D97-AF65-F5344CB8AC3E}">
        <p14:creationId xmlns:p14="http://schemas.microsoft.com/office/powerpoint/2010/main" val="38833757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chemeClr val="tx1"/>
                </a:solidFill>
                <a:effectLst/>
                <a:uLnTx/>
                <a:uFillTx/>
                <a:ea typeface="+mn-ea"/>
                <a:cs typeface="Arial" pitchFamily="34"/>
              </a:rPr>
              <a:t>What is Design </a:t>
            </a:r>
            <a:r>
              <a:rPr lang="en-US" sz="1600" kern="0">
                <a:cs typeface="Arial" pitchFamily="34"/>
              </a:rPr>
              <a:t>P</a:t>
            </a:r>
            <a:r>
              <a:rPr kumimoji="0" lang="en-US" sz="1600" b="0" i="0" u="none" strike="noStrike" kern="0" cap="none" spc="0" normalizeH="0" baseline="0" noProof="0" err="1">
                <a:ln>
                  <a:noFill/>
                </a:ln>
                <a:solidFill>
                  <a:schemeClr val="tx1"/>
                </a:solidFill>
                <a:effectLst/>
                <a:uLnTx/>
                <a:uFillTx/>
                <a:ea typeface="+mn-ea"/>
                <a:cs typeface="Arial" pitchFamily="34"/>
              </a:rPr>
              <a:t>attern</a:t>
            </a:r>
            <a:r>
              <a:rPr lang="en-US" sz="1600" kern="0">
                <a:cs typeface="Arial" pitchFamily="34"/>
              </a:rPr>
              <a:t>?</a:t>
            </a:r>
            <a:endParaRPr kumimoji="0" lang="en-US" sz="1600" b="0" i="0" u="none" strike="noStrike" kern="0" cap="none" spc="0" normalizeH="0" baseline="0" noProof="0">
              <a:ln>
                <a:noFill/>
              </a:ln>
              <a:solidFill>
                <a:schemeClr val="tx1"/>
              </a:solidFill>
              <a:effectLst/>
              <a:uLnTx/>
              <a:uFillTx/>
              <a:ea typeface="+mn-ea"/>
              <a:cs typeface="Arial" pitchFamily="34"/>
            </a:endParaRP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pic>
        <p:nvPicPr>
          <p:cNvPr id="4" name="Picture 3" descr="A close up of a wheel&#10;&#10;Description automatically generated with low confidence">
            <a:extLst>
              <a:ext uri="{FF2B5EF4-FFF2-40B4-BE49-F238E27FC236}">
                <a16:creationId xmlns:a16="http://schemas.microsoft.com/office/drawing/2014/main" id="{0BA6B2EA-8FD3-3726-A47B-CEAE4F8A4C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84877" y="2022355"/>
            <a:ext cx="9622246" cy="3616245"/>
          </a:xfrm>
          <a:prstGeom prst="rect">
            <a:avLst/>
          </a:prstGeom>
        </p:spPr>
      </p:pic>
    </p:spTree>
    <p:custDataLst>
      <p:tags r:id="rId1"/>
    </p:custDataLst>
    <p:extLst>
      <p:ext uri="{BB962C8B-B14F-4D97-AF65-F5344CB8AC3E}">
        <p14:creationId xmlns:p14="http://schemas.microsoft.com/office/powerpoint/2010/main" val="3497685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chemeClr val="tx1"/>
                </a:solidFill>
                <a:effectLst/>
                <a:uLnTx/>
                <a:uFillTx/>
                <a:ea typeface="+mn-ea"/>
                <a:cs typeface="Arial" pitchFamily="34"/>
              </a:rPr>
              <a:t>What is Design </a:t>
            </a:r>
            <a:r>
              <a:rPr lang="en-US" sz="1600" kern="0">
                <a:cs typeface="Arial" pitchFamily="34"/>
              </a:rPr>
              <a:t>P</a:t>
            </a:r>
            <a:r>
              <a:rPr kumimoji="0" lang="en-US" sz="1600" b="0" i="0" u="none" strike="noStrike" kern="0" cap="none" spc="0" normalizeH="0" baseline="0" noProof="0" err="1">
                <a:ln>
                  <a:noFill/>
                </a:ln>
                <a:solidFill>
                  <a:schemeClr val="tx1"/>
                </a:solidFill>
                <a:effectLst/>
                <a:uLnTx/>
                <a:uFillTx/>
                <a:ea typeface="+mn-ea"/>
                <a:cs typeface="Arial" pitchFamily="34"/>
              </a:rPr>
              <a:t>attern</a:t>
            </a:r>
            <a:r>
              <a:rPr lang="en-US" sz="1600" kern="0">
                <a:cs typeface="Arial" pitchFamily="34"/>
              </a:rPr>
              <a:t>?</a:t>
            </a:r>
            <a:endParaRPr kumimoji="0" lang="en-US" sz="1600" b="0" i="0" u="none" strike="noStrike" kern="0" cap="none" spc="0" normalizeH="0" baseline="0" noProof="0">
              <a:ln>
                <a:noFill/>
              </a:ln>
              <a:solidFill>
                <a:schemeClr val="tx1"/>
              </a:solidFill>
              <a:effectLst/>
              <a:uLnTx/>
              <a:uFillTx/>
              <a:ea typeface="+mn-ea"/>
              <a:cs typeface="Arial" pitchFamily="34"/>
            </a:endParaRP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pic>
        <p:nvPicPr>
          <p:cNvPr id="3" name="Picture 2" descr="A close-up of a car tire&#10;&#10;Description automatically generated with medium confidence">
            <a:extLst>
              <a:ext uri="{FF2B5EF4-FFF2-40B4-BE49-F238E27FC236}">
                <a16:creationId xmlns:a16="http://schemas.microsoft.com/office/drawing/2014/main" id="{6D684304-83A3-B8ED-D3F2-348871E8BF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8694" y="2022355"/>
            <a:ext cx="5153025" cy="3438525"/>
          </a:xfrm>
          <a:prstGeom prst="rect">
            <a:avLst/>
          </a:prstGeom>
        </p:spPr>
      </p:pic>
      <p:pic>
        <p:nvPicPr>
          <p:cNvPr id="7" name="Picture 6" descr="A picture containing auto part, wheel, tire, automotive wheel system&#10;&#10;Description automatically generated">
            <a:extLst>
              <a:ext uri="{FF2B5EF4-FFF2-40B4-BE49-F238E27FC236}">
                <a16:creationId xmlns:a16="http://schemas.microsoft.com/office/drawing/2014/main" id="{80B7F6A1-561C-2C02-3AC0-6504F68499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4410" y="2002822"/>
            <a:ext cx="3848637" cy="3458058"/>
          </a:xfrm>
          <a:prstGeom prst="rect">
            <a:avLst/>
          </a:prstGeom>
        </p:spPr>
      </p:pic>
    </p:spTree>
    <p:custDataLst>
      <p:tags r:id="rId1"/>
    </p:custDataLst>
    <p:extLst>
      <p:ext uri="{BB962C8B-B14F-4D97-AF65-F5344CB8AC3E}">
        <p14:creationId xmlns:p14="http://schemas.microsoft.com/office/powerpoint/2010/main" val="2729139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What is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2" name="TextBox 1">
            <a:extLst>
              <a:ext uri="{FF2B5EF4-FFF2-40B4-BE49-F238E27FC236}">
                <a16:creationId xmlns:a16="http://schemas.microsoft.com/office/drawing/2014/main" id="{00340C1C-C5A5-C59C-4CF3-A8A32C4DADB5}"/>
              </a:ext>
            </a:extLst>
          </p:cNvPr>
          <p:cNvSpPr txBox="1"/>
          <p:nvPr/>
        </p:nvSpPr>
        <p:spPr>
          <a:xfrm>
            <a:off x="698529" y="2022355"/>
            <a:ext cx="10755931" cy="1900165"/>
          </a:xfrm>
          <a:prstGeom prst="rect">
            <a:avLst/>
          </a:prstGeom>
          <a:noFill/>
          <a:ln>
            <a:solidFill>
              <a:schemeClr val="bg1"/>
            </a:solidFill>
          </a:ln>
        </p:spPr>
        <p:txBody>
          <a:bodyPr wrap="square" lIns="0" tIns="0" rIns="0" bIns="0" rtlCol="0" anchor="t">
            <a:noAutofit/>
          </a:bodyPr>
          <a:lstStyle/>
          <a:p>
            <a:endParaRPr lang="vi-VN" sz="1600"/>
          </a:p>
        </p:txBody>
      </p:sp>
      <p:sp>
        <p:nvSpPr>
          <p:cNvPr id="6" name="AutoShape 6" descr="Untitled">
            <a:extLst>
              <a:ext uri="{FF2B5EF4-FFF2-40B4-BE49-F238E27FC236}">
                <a16:creationId xmlns:a16="http://schemas.microsoft.com/office/drawing/2014/main" id="{37A0B76A-B6F6-5B01-9D56-48CC7193900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7"/>
            <a:ext cx="10794942" cy="322575"/>
          </a:xfrm>
          <a:prstGeom prst="rect">
            <a:avLst/>
          </a:prstGeom>
          <a:noFill/>
          <a:ln>
            <a:solidFill>
              <a:schemeClr val="bg1"/>
            </a:solidFill>
          </a:ln>
        </p:spPr>
        <p:txBody>
          <a:bodyPr wrap="square" lIns="0" tIns="0" rIns="0" bIns="0" rtlCol="0" anchor="t">
            <a:noAutofit/>
          </a:bodyPr>
          <a:lstStyle/>
          <a:p>
            <a:r>
              <a:rPr lang="en-US" sz="2400"/>
              <a:t>Both </a:t>
            </a:r>
            <a:r>
              <a:rPr lang="en-US" sz="2400" b="1"/>
              <a:t>Algorithms</a:t>
            </a:r>
            <a:r>
              <a:rPr lang="en-US" sz="2400"/>
              <a:t> and </a:t>
            </a:r>
            <a:r>
              <a:rPr lang="en-US" sz="2400" b="1"/>
              <a:t>Design patterns</a:t>
            </a:r>
            <a:r>
              <a:rPr lang="en-US" sz="2400"/>
              <a:t> are the solutions to a problem, so how to differentiate them</a:t>
            </a:r>
            <a:endParaRPr lang="vi-VN" sz="2400"/>
          </a:p>
        </p:txBody>
      </p:sp>
      <p:graphicFrame>
        <p:nvGraphicFramePr>
          <p:cNvPr id="11" name="Table 11">
            <a:extLst>
              <a:ext uri="{FF2B5EF4-FFF2-40B4-BE49-F238E27FC236}">
                <a16:creationId xmlns:a16="http://schemas.microsoft.com/office/drawing/2014/main" id="{8F316E94-EF0D-7FD3-8FFF-CD1DB1E2242C}"/>
              </a:ext>
            </a:extLst>
          </p:cNvPr>
          <p:cNvGraphicFramePr>
            <a:graphicFrameLocks noGrp="1"/>
          </p:cNvGraphicFramePr>
          <p:nvPr>
            <p:extLst>
              <p:ext uri="{D42A27DB-BD31-4B8C-83A1-F6EECF244321}">
                <p14:modId xmlns:p14="http://schemas.microsoft.com/office/powerpoint/2010/main" val="1786403004"/>
              </p:ext>
            </p:extLst>
          </p:nvPr>
        </p:nvGraphicFramePr>
        <p:xfrm>
          <a:off x="1754930" y="3276600"/>
          <a:ext cx="9009526" cy="1423218"/>
        </p:xfrm>
        <a:graphic>
          <a:graphicData uri="http://schemas.openxmlformats.org/drawingml/2006/table">
            <a:tbl>
              <a:tblPr firstRow="1" bandRow="1">
                <a:tableStyleId>{5C22544A-7EE6-4342-B048-85BDC9FD1C3A}</a:tableStyleId>
              </a:tblPr>
              <a:tblGrid>
                <a:gridCol w="1739685">
                  <a:extLst>
                    <a:ext uri="{9D8B030D-6E8A-4147-A177-3AD203B41FA5}">
                      <a16:colId xmlns:a16="http://schemas.microsoft.com/office/drawing/2014/main" val="2999006427"/>
                    </a:ext>
                  </a:extLst>
                </a:gridCol>
                <a:gridCol w="4123489">
                  <a:extLst>
                    <a:ext uri="{9D8B030D-6E8A-4147-A177-3AD203B41FA5}">
                      <a16:colId xmlns:a16="http://schemas.microsoft.com/office/drawing/2014/main" val="457071013"/>
                    </a:ext>
                  </a:extLst>
                </a:gridCol>
                <a:gridCol w="3146352">
                  <a:extLst>
                    <a:ext uri="{9D8B030D-6E8A-4147-A177-3AD203B41FA5}">
                      <a16:colId xmlns:a16="http://schemas.microsoft.com/office/drawing/2014/main" val="2590291602"/>
                    </a:ext>
                  </a:extLst>
                </a:gridCol>
              </a:tblGrid>
              <a:tr h="474406">
                <a:tc>
                  <a:txBody>
                    <a:bodyPr/>
                    <a:lstStyle/>
                    <a:p>
                      <a:endParaRPr lang="vi-VN" sz="2000">
                        <a:latin typeface="Tahoma (Body)"/>
                      </a:endParaRPr>
                    </a:p>
                  </a:txBody>
                  <a:tcPr marL="116977" marR="116977" marT="58488" marB="58488"/>
                </a:tc>
                <a:tc>
                  <a:txBody>
                    <a:bodyPr/>
                    <a:lstStyle/>
                    <a:p>
                      <a:r>
                        <a:rPr lang="vi-VN" sz="2000" b="1" err="1">
                          <a:effectLst/>
                          <a:latin typeface="Tahoma (Body)"/>
                        </a:rPr>
                        <a:t>algorithm</a:t>
                      </a:r>
                      <a:r>
                        <a:rPr lang="en-US" sz="2000" b="1">
                          <a:effectLst/>
                          <a:latin typeface="Tahoma (Body)"/>
                        </a:rPr>
                        <a:t>s</a:t>
                      </a:r>
                      <a:endParaRPr lang="vi-VN" sz="2000">
                        <a:latin typeface="Tahoma (Body)"/>
                      </a:endParaRPr>
                    </a:p>
                  </a:txBody>
                  <a:tcPr marL="116977" marR="116977" marT="58488" marB="58488"/>
                </a:tc>
                <a:tc>
                  <a:txBody>
                    <a:bodyPr/>
                    <a:lstStyle/>
                    <a:p>
                      <a:r>
                        <a:rPr lang="vi-VN" sz="2000" b="1" err="1">
                          <a:effectLst/>
                          <a:latin typeface="Tahoma (Body)"/>
                        </a:rPr>
                        <a:t>pattern</a:t>
                      </a:r>
                      <a:r>
                        <a:rPr lang="en-US" sz="2000" b="1">
                          <a:effectLst/>
                          <a:latin typeface="Tahoma (Body)"/>
                        </a:rPr>
                        <a:t>s</a:t>
                      </a:r>
                      <a:endParaRPr lang="vi-VN" sz="2000">
                        <a:latin typeface="Tahoma (Body)"/>
                      </a:endParaRPr>
                    </a:p>
                  </a:txBody>
                  <a:tcPr marL="116977" marR="116977" marT="58488" marB="58488"/>
                </a:tc>
                <a:extLst>
                  <a:ext uri="{0D108BD9-81ED-4DB2-BD59-A6C34878D82A}">
                    <a16:rowId xmlns:a16="http://schemas.microsoft.com/office/drawing/2014/main" val="988077306"/>
                  </a:ext>
                </a:extLst>
              </a:tr>
              <a:tr h="474406">
                <a:tc>
                  <a:txBody>
                    <a:bodyPr/>
                    <a:lstStyle/>
                    <a:p>
                      <a:r>
                        <a:rPr lang="vi-VN" sz="2000" b="1" err="1">
                          <a:effectLst/>
                          <a:latin typeface="Tahoma (Body)"/>
                        </a:rPr>
                        <a:t>definition</a:t>
                      </a:r>
                      <a:endParaRPr lang="vi-VN" sz="2000">
                        <a:latin typeface="Tahoma (Body)"/>
                      </a:endParaRPr>
                    </a:p>
                  </a:txBody>
                  <a:tcPr marL="116977" marR="116977" marT="58488" marB="58488"/>
                </a:tc>
                <a:tc>
                  <a:txBody>
                    <a:bodyPr/>
                    <a:lstStyle/>
                    <a:p>
                      <a:pPr marL="0" algn="l" defTabSz="685800" rtl="0" eaLnBrk="1" latinLnBrk="0" hangingPunct="1"/>
                      <a:r>
                        <a:rPr lang="en-US" sz="2000" kern="1200">
                          <a:solidFill>
                            <a:schemeClr val="dk1"/>
                          </a:solidFill>
                          <a:latin typeface="Tahoma (Body)"/>
                          <a:ea typeface="+mn-ea"/>
                          <a:cs typeface="+mn-cs"/>
                        </a:rPr>
                        <a:t>recipe for performing some task</a:t>
                      </a:r>
                      <a:endParaRPr lang="vi-VN" sz="2000" kern="1200">
                        <a:solidFill>
                          <a:schemeClr val="dk1"/>
                        </a:solidFill>
                        <a:latin typeface="Tahoma (Body)"/>
                        <a:ea typeface="+mn-ea"/>
                        <a:cs typeface="+mn-cs"/>
                      </a:endParaRPr>
                    </a:p>
                  </a:txBody>
                  <a:tcPr marL="116977" marR="116977" marT="58488" marB="58488"/>
                </a:tc>
                <a:tc>
                  <a:txBody>
                    <a:bodyPr/>
                    <a:lstStyle/>
                    <a:p>
                      <a:r>
                        <a:rPr lang="vi-VN" sz="2000" err="1">
                          <a:latin typeface="Tahoma (Body)"/>
                        </a:rPr>
                        <a:t>way</a:t>
                      </a:r>
                      <a:r>
                        <a:rPr lang="vi-VN" sz="2000">
                          <a:latin typeface="Tahoma (Body)"/>
                        </a:rPr>
                        <a:t> </a:t>
                      </a:r>
                      <a:r>
                        <a:rPr lang="vi-VN" sz="2000" err="1">
                          <a:latin typeface="Tahoma (Body)"/>
                        </a:rPr>
                        <a:t>of</a:t>
                      </a:r>
                      <a:r>
                        <a:rPr lang="vi-VN" sz="2000">
                          <a:latin typeface="Tahoma (Body)"/>
                        </a:rPr>
                        <a:t> </a:t>
                      </a:r>
                      <a:r>
                        <a:rPr lang="vi-VN" sz="2000" err="1">
                          <a:latin typeface="Tahoma (Body)"/>
                        </a:rPr>
                        <a:t>structuring</a:t>
                      </a:r>
                      <a:r>
                        <a:rPr lang="vi-VN" sz="2000">
                          <a:latin typeface="Tahoma (Body)"/>
                        </a:rPr>
                        <a:t> </a:t>
                      </a:r>
                      <a:r>
                        <a:rPr lang="vi-VN" sz="2000" err="1">
                          <a:latin typeface="Tahoma (Body)"/>
                        </a:rPr>
                        <a:t>code</a:t>
                      </a:r>
                      <a:endParaRPr lang="vi-VN" sz="2000">
                        <a:latin typeface="Tahoma (Body)"/>
                      </a:endParaRPr>
                    </a:p>
                  </a:txBody>
                  <a:tcPr marL="116977" marR="116977" marT="58488" marB="58488"/>
                </a:tc>
                <a:extLst>
                  <a:ext uri="{0D108BD9-81ED-4DB2-BD59-A6C34878D82A}">
                    <a16:rowId xmlns:a16="http://schemas.microsoft.com/office/drawing/2014/main" val="1800352201"/>
                  </a:ext>
                </a:extLst>
              </a:tr>
              <a:tr h="474406">
                <a:tc>
                  <a:txBody>
                    <a:bodyPr/>
                    <a:lstStyle/>
                    <a:p>
                      <a:r>
                        <a:rPr lang="vi-VN" sz="2000" b="1" err="1">
                          <a:effectLst/>
                          <a:latin typeface="Tahoma (Body)"/>
                        </a:rPr>
                        <a:t>scope</a:t>
                      </a:r>
                      <a:endParaRPr lang="vi-VN" sz="2000">
                        <a:latin typeface="Tahoma (Body)"/>
                      </a:endParaRPr>
                    </a:p>
                  </a:txBody>
                  <a:tcPr marL="116977" marR="116977" marT="58488" marB="58488"/>
                </a:tc>
                <a:tc>
                  <a:txBody>
                    <a:bodyPr/>
                    <a:lstStyle/>
                    <a:p>
                      <a:r>
                        <a:rPr lang="vi-VN" sz="2000" err="1">
                          <a:latin typeface="Tahoma (Body)"/>
                        </a:rPr>
                        <a:t>detail</a:t>
                      </a:r>
                      <a:r>
                        <a:rPr lang="vi-VN" sz="2000">
                          <a:latin typeface="Tahoma (Body)"/>
                        </a:rPr>
                        <a:t> </a:t>
                      </a:r>
                      <a:r>
                        <a:rPr lang="vi-VN" sz="2000" err="1">
                          <a:latin typeface="Tahoma (Body)"/>
                        </a:rPr>
                        <a:t>level</a:t>
                      </a:r>
                      <a:endParaRPr lang="vi-VN" sz="2000">
                        <a:latin typeface="Tahoma (Body)"/>
                      </a:endParaRPr>
                    </a:p>
                  </a:txBody>
                  <a:tcPr marL="116977" marR="116977" marT="58488" marB="58488"/>
                </a:tc>
                <a:tc>
                  <a:txBody>
                    <a:bodyPr/>
                    <a:lstStyle/>
                    <a:p>
                      <a:r>
                        <a:rPr lang="vi-VN" sz="2000" err="1">
                          <a:latin typeface="Tahoma (Body)"/>
                        </a:rPr>
                        <a:t>high</a:t>
                      </a:r>
                      <a:r>
                        <a:rPr lang="vi-VN" sz="2000">
                          <a:latin typeface="Tahoma (Body)"/>
                        </a:rPr>
                        <a:t> </a:t>
                      </a:r>
                      <a:r>
                        <a:rPr lang="vi-VN" sz="2000" err="1">
                          <a:latin typeface="Tahoma (Body)"/>
                        </a:rPr>
                        <a:t>level</a:t>
                      </a:r>
                      <a:endParaRPr lang="vi-VN" sz="2000">
                        <a:latin typeface="Tahoma (Body)"/>
                      </a:endParaRPr>
                    </a:p>
                  </a:txBody>
                  <a:tcPr marL="116977" marR="116977" marT="58488" marB="58488"/>
                </a:tc>
                <a:extLst>
                  <a:ext uri="{0D108BD9-81ED-4DB2-BD59-A6C34878D82A}">
                    <a16:rowId xmlns:a16="http://schemas.microsoft.com/office/drawing/2014/main" val="3474948814"/>
                  </a:ext>
                </a:extLst>
              </a:tr>
            </a:tbl>
          </a:graphicData>
        </a:graphic>
      </p:graphicFrame>
    </p:spTree>
    <p:custDataLst>
      <p:tags r:id="rId1"/>
    </p:custDataLst>
    <p:extLst>
      <p:ext uri="{BB962C8B-B14F-4D97-AF65-F5344CB8AC3E}">
        <p14:creationId xmlns:p14="http://schemas.microsoft.com/office/powerpoint/2010/main" val="2488781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What is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6" name="AutoShape 6" descr="Untitled">
            <a:extLst>
              <a:ext uri="{FF2B5EF4-FFF2-40B4-BE49-F238E27FC236}">
                <a16:creationId xmlns:a16="http://schemas.microsoft.com/office/drawing/2014/main" id="{37A0B76A-B6F6-5B01-9D56-48CC7193900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7"/>
            <a:ext cx="10650358" cy="1050084"/>
          </a:xfrm>
          <a:prstGeom prst="rect">
            <a:avLst/>
          </a:prstGeom>
          <a:noFill/>
          <a:ln>
            <a:solidFill>
              <a:schemeClr val="bg1"/>
            </a:solidFill>
          </a:ln>
        </p:spPr>
        <p:txBody>
          <a:bodyPr wrap="square" lIns="0" tIns="0" rIns="0" bIns="0" rtlCol="0" anchor="t">
            <a:noAutofit/>
          </a:bodyPr>
          <a:lstStyle/>
          <a:p>
            <a:r>
              <a:rPr lang="en-US" sz="2800"/>
              <a:t>Most patterns are described very formally so people can reproduce them in many contexts. Here are the sections that are usually present in a pattern description</a:t>
            </a:r>
            <a:endParaRPr lang="vi-VN" sz="2800"/>
          </a:p>
        </p:txBody>
      </p:sp>
      <p:sp>
        <p:nvSpPr>
          <p:cNvPr id="3" name="TextBox 2">
            <a:extLst>
              <a:ext uri="{FF2B5EF4-FFF2-40B4-BE49-F238E27FC236}">
                <a16:creationId xmlns:a16="http://schemas.microsoft.com/office/drawing/2014/main" id="{C5319C80-1BC1-10EA-C669-EC425E6F59FC}"/>
              </a:ext>
            </a:extLst>
          </p:cNvPr>
          <p:cNvSpPr txBox="1"/>
          <p:nvPr/>
        </p:nvSpPr>
        <p:spPr>
          <a:xfrm>
            <a:off x="1029231" y="3429000"/>
            <a:ext cx="9477038" cy="2556387"/>
          </a:xfrm>
          <a:prstGeom prst="rect">
            <a:avLst/>
          </a:prstGeom>
          <a:noFill/>
          <a:ln>
            <a:solidFill>
              <a:schemeClr val="bg1"/>
            </a:solidFill>
          </a:ln>
        </p:spPr>
        <p:txBody>
          <a:bodyPr wrap="square" lIns="0" tIns="0" rIns="0" bIns="0" rtlCol="0" anchor="t">
            <a:noAutofit/>
          </a:bodyPr>
          <a:lstStyle/>
          <a:p>
            <a:pPr marL="285750" indent="-285750">
              <a:buFont typeface="Arial" panose="020B0604020202020204" pitchFamily="34" charset="0"/>
              <a:buChar char="•"/>
            </a:pPr>
            <a:r>
              <a:rPr lang="en-US" sz="2400" b="1"/>
              <a:t>Intent</a:t>
            </a:r>
            <a:r>
              <a:rPr lang="en-US" sz="2400"/>
              <a:t> of the pattern briefly describes both the problem and the solution.</a:t>
            </a:r>
          </a:p>
          <a:p>
            <a:pPr marL="285750" indent="-285750">
              <a:buFont typeface="Arial" panose="020B0604020202020204" pitchFamily="34" charset="0"/>
              <a:buChar char="•"/>
            </a:pPr>
            <a:r>
              <a:rPr lang="en-US" sz="2400" b="1"/>
              <a:t>Motivation</a:t>
            </a:r>
            <a:r>
              <a:rPr lang="en-US" sz="2400"/>
              <a:t> further explains the problem and the solution the pattern makes possible.</a:t>
            </a:r>
          </a:p>
          <a:p>
            <a:pPr marL="285750" indent="-285750">
              <a:buFont typeface="Arial" panose="020B0604020202020204" pitchFamily="34" charset="0"/>
              <a:buChar char="•"/>
            </a:pPr>
            <a:r>
              <a:rPr lang="en-US" sz="2400" b="1"/>
              <a:t>Structure</a:t>
            </a:r>
            <a:r>
              <a:rPr lang="en-US" sz="2400"/>
              <a:t> of classes shows each part of the pattern and how they are related.</a:t>
            </a:r>
          </a:p>
          <a:p>
            <a:pPr marL="285750" indent="-285750">
              <a:buFont typeface="Arial" panose="020B0604020202020204" pitchFamily="34" charset="0"/>
              <a:buChar char="•"/>
            </a:pPr>
            <a:r>
              <a:rPr lang="en-US" sz="2400" b="1"/>
              <a:t>Code example</a:t>
            </a:r>
            <a:r>
              <a:rPr lang="en-US" sz="2400"/>
              <a:t> in one of the popular programming languages makes it easier to grasp the idea behind the pattern.</a:t>
            </a:r>
          </a:p>
        </p:txBody>
      </p:sp>
    </p:spTree>
    <p:custDataLst>
      <p:tags r:id="rId1"/>
    </p:custDataLst>
    <p:extLst>
      <p:ext uri="{BB962C8B-B14F-4D97-AF65-F5344CB8AC3E}">
        <p14:creationId xmlns:p14="http://schemas.microsoft.com/office/powerpoint/2010/main" val="29812876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1392080" y="2896200"/>
            <a:ext cx="9412800" cy="1065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3000" b="0" i="0" u="none" strike="noStrike" kern="0" cap="none" spc="0" normalizeH="0" baseline="0" noProof="0">
                <a:ln>
                  <a:noFill/>
                </a:ln>
                <a:solidFill>
                  <a:schemeClr val="tx1"/>
                </a:solidFill>
                <a:effectLst/>
                <a:uLnTx/>
                <a:uFillTx/>
                <a:ea typeface="+mn-ea"/>
                <a:cs typeface="Arial" pitchFamily="34"/>
              </a:rPr>
              <a:t>Three types of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10799920" y="2896200"/>
            <a:ext cx="50000" cy="1065600"/>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Tree>
    <p:custDataLst>
      <p:tags r:id="rId1"/>
    </p:custDataLst>
    <p:extLst>
      <p:ext uri="{BB962C8B-B14F-4D97-AF65-F5344CB8AC3E}">
        <p14:creationId xmlns:p14="http://schemas.microsoft.com/office/powerpoint/2010/main" val="33036592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Three types of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7"/>
            <a:ext cx="10794942" cy="567501"/>
          </a:xfrm>
          <a:prstGeom prst="rect">
            <a:avLst/>
          </a:prstGeom>
          <a:noFill/>
          <a:ln>
            <a:solidFill>
              <a:schemeClr val="bg1"/>
            </a:solidFill>
          </a:ln>
        </p:spPr>
        <p:txBody>
          <a:bodyPr wrap="square" lIns="0" tIns="0" rIns="0" bIns="0" rtlCol="0" anchor="t">
            <a:noAutofit/>
          </a:bodyPr>
          <a:lstStyle/>
          <a:p>
            <a:r>
              <a:rPr lang="en-US" b="1" i="1" u="sng"/>
              <a:t>Creational design patterns</a:t>
            </a:r>
            <a:r>
              <a:rPr lang="en-US"/>
              <a:t> provide various </a:t>
            </a:r>
            <a:r>
              <a:rPr lang="en-US" b="1"/>
              <a:t>object creation mechanisms</a:t>
            </a:r>
            <a:r>
              <a:rPr lang="en-US"/>
              <a:t>, which increase flexibility and reuse of existing code.</a:t>
            </a:r>
            <a:endParaRPr lang="vi-VN"/>
          </a:p>
        </p:txBody>
      </p:sp>
      <p:pic>
        <p:nvPicPr>
          <p:cNvPr id="15" name="Picture 14" descr="A picture containing text, screenshot, font, diagram&#10;&#10;Description automatically generated">
            <a:extLst>
              <a:ext uri="{FF2B5EF4-FFF2-40B4-BE49-F238E27FC236}">
                <a16:creationId xmlns:a16="http://schemas.microsoft.com/office/drawing/2014/main" id="{4C2C480B-732C-7654-3C61-BFC0F390CC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1533" y="3104480"/>
            <a:ext cx="3300028" cy="2046148"/>
          </a:xfrm>
          <a:prstGeom prst="rect">
            <a:avLst/>
          </a:prstGeom>
        </p:spPr>
      </p:pic>
      <p:pic>
        <p:nvPicPr>
          <p:cNvPr id="17" name="Picture 16" descr="A picture containing text, font, screenshot, line&#10;&#10;Description automatically generated">
            <a:extLst>
              <a:ext uri="{FF2B5EF4-FFF2-40B4-BE49-F238E27FC236}">
                <a16:creationId xmlns:a16="http://schemas.microsoft.com/office/drawing/2014/main" id="{A5C09151-3F35-E7C9-A764-269A192DE4B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90267" y="3104221"/>
            <a:ext cx="3702903" cy="2046148"/>
          </a:xfrm>
          <a:prstGeom prst="rect">
            <a:avLst/>
          </a:prstGeom>
        </p:spPr>
      </p:pic>
      <p:pic>
        <p:nvPicPr>
          <p:cNvPr id="20" name="Picture 19" descr="A picture containing text, screenshot, font, design&#10;&#10;Description automatically generated">
            <a:extLst>
              <a:ext uri="{FF2B5EF4-FFF2-40B4-BE49-F238E27FC236}">
                <a16:creationId xmlns:a16="http://schemas.microsoft.com/office/drawing/2014/main" id="{27303E63-A24D-E368-FA52-82436D7A12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71876" y="3103962"/>
            <a:ext cx="3302455" cy="2046407"/>
          </a:xfrm>
          <a:prstGeom prst="rect">
            <a:avLst/>
          </a:prstGeom>
        </p:spPr>
      </p:pic>
    </p:spTree>
    <p:custDataLst>
      <p:tags r:id="rId1"/>
    </p:custDataLst>
    <p:extLst>
      <p:ext uri="{BB962C8B-B14F-4D97-AF65-F5344CB8AC3E}">
        <p14:creationId xmlns:p14="http://schemas.microsoft.com/office/powerpoint/2010/main" val="2322669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screenshot, rectangle, font&#10;&#10;Description automatically generated">
            <a:extLst>
              <a:ext uri="{FF2B5EF4-FFF2-40B4-BE49-F238E27FC236}">
                <a16:creationId xmlns:a16="http://schemas.microsoft.com/office/drawing/2014/main" id="{B7CBE0BB-99EF-4CDE-4478-D77CFC4041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36389" y="3092629"/>
            <a:ext cx="3302455" cy="2057482"/>
          </a:xfrm>
          <a:prstGeom prst="rect">
            <a:avLst/>
          </a:prstGeom>
        </p:spPr>
      </p:pic>
      <p:pic>
        <p:nvPicPr>
          <p:cNvPr id="6" name="Picture 5" descr="A picture containing text, screenshot, font, logo&#10;&#10;Description automatically generated">
            <a:extLst>
              <a:ext uri="{FF2B5EF4-FFF2-40B4-BE49-F238E27FC236}">
                <a16:creationId xmlns:a16="http://schemas.microsoft.com/office/drawing/2014/main" id="{F4AC5CD0-D97E-35F8-F938-E358AA49B4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1533" y="3103963"/>
            <a:ext cx="3708873" cy="2046148"/>
          </a:xfrm>
          <a:prstGeom prst="rect">
            <a:avLst/>
          </a:prstGeom>
        </p:spPr>
      </p:pic>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Three types of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7"/>
            <a:ext cx="10794942" cy="567501"/>
          </a:xfrm>
          <a:prstGeom prst="rect">
            <a:avLst/>
          </a:prstGeom>
          <a:noFill/>
          <a:ln>
            <a:solidFill>
              <a:schemeClr val="bg1"/>
            </a:solidFill>
          </a:ln>
        </p:spPr>
        <p:txBody>
          <a:bodyPr wrap="square" lIns="0" tIns="0" rIns="0" bIns="0" rtlCol="0" anchor="t">
            <a:noAutofit/>
          </a:bodyPr>
          <a:lstStyle/>
          <a:p>
            <a:r>
              <a:rPr lang="en-US" b="1" i="1" u="sng"/>
              <a:t>Structural design patterns</a:t>
            </a:r>
            <a:r>
              <a:rPr lang="en-US"/>
              <a:t> explain how to </a:t>
            </a:r>
            <a:r>
              <a:rPr lang="en-US" b="1"/>
              <a:t>assemble</a:t>
            </a:r>
            <a:r>
              <a:rPr lang="en-US"/>
              <a:t> </a:t>
            </a:r>
            <a:r>
              <a:rPr lang="en-US" b="1"/>
              <a:t>objects and classes</a:t>
            </a:r>
            <a:r>
              <a:rPr lang="en-US"/>
              <a:t> into </a:t>
            </a:r>
            <a:r>
              <a:rPr lang="en-US" b="1"/>
              <a:t>larger structures</a:t>
            </a:r>
            <a:r>
              <a:rPr lang="en-US"/>
              <a:t> while keeping these structures </a:t>
            </a:r>
            <a:r>
              <a:rPr lang="en-US" b="1"/>
              <a:t>flexible</a:t>
            </a:r>
            <a:r>
              <a:rPr lang="en-US"/>
              <a:t> and </a:t>
            </a:r>
            <a:r>
              <a:rPr lang="en-US" b="1"/>
              <a:t>efficient</a:t>
            </a:r>
            <a:r>
              <a:rPr lang="en-US"/>
              <a:t>.</a:t>
            </a:r>
            <a:endParaRPr lang="vi-VN"/>
          </a:p>
        </p:txBody>
      </p:sp>
      <p:pic>
        <p:nvPicPr>
          <p:cNvPr id="11" name="Picture 10" descr="A screenshot of a computer&#10;&#10;Description automatically generated with low confidence">
            <a:extLst>
              <a:ext uri="{FF2B5EF4-FFF2-40B4-BE49-F238E27FC236}">
                <a16:creationId xmlns:a16="http://schemas.microsoft.com/office/drawing/2014/main" id="{6A294822-B4A7-092F-ED13-F94AC5AAA7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54828" y="3115295"/>
            <a:ext cx="2699632" cy="2046149"/>
          </a:xfrm>
          <a:prstGeom prst="rect">
            <a:avLst/>
          </a:prstGeom>
        </p:spPr>
      </p:pic>
    </p:spTree>
    <p:custDataLst>
      <p:tags r:id="rId1"/>
    </p:custDataLst>
    <p:extLst>
      <p:ext uri="{BB962C8B-B14F-4D97-AF65-F5344CB8AC3E}">
        <p14:creationId xmlns:p14="http://schemas.microsoft.com/office/powerpoint/2010/main" val="1745047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602B82-5842-4C09-9CE0-FE65AF0814C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602B82-5842-4C09-9CE0-FE65AF0814C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57649-04B0-4766-9290-E5B6D0EB61FD}"/>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a:t>Agenda</a:t>
            </a:r>
          </a:p>
        </p:txBody>
      </p:sp>
      <p:sp>
        <p:nvSpPr>
          <p:cNvPr id="8" name="Pentagon 23">
            <a:extLst>
              <a:ext uri="{FF2B5EF4-FFF2-40B4-BE49-F238E27FC236}">
                <a16:creationId xmlns:a16="http://schemas.microsoft.com/office/drawing/2014/main" id="{598E6103-3DFF-4B87-B5C7-300316CB1814}"/>
              </a:ext>
            </a:extLst>
          </p:cNvPr>
          <p:cNvSpPr/>
          <p:nvPr/>
        </p:nvSpPr>
        <p:spPr>
          <a:xfrm>
            <a:off x="1145628" y="14003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a:t>
            </a:r>
          </a:p>
        </p:txBody>
      </p:sp>
      <p:sp>
        <p:nvSpPr>
          <p:cNvPr id="13" name="Oval 12">
            <a:extLst>
              <a:ext uri="{FF2B5EF4-FFF2-40B4-BE49-F238E27FC236}">
                <a16:creationId xmlns:a16="http://schemas.microsoft.com/office/drawing/2014/main" id="{9D57BE4A-5B6A-4752-A75D-1142E779029A}"/>
              </a:ext>
            </a:extLst>
          </p:cNvPr>
          <p:cNvSpPr/>
          <p:nvPr/>
        </p:nvSpPr>
        <p:spPr>
          <a:xfrm>
            <a:off x="839218" y="14049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4" name="Graphic 22">
            <a:extLst>
              <a:ext uri="{FF2B5EF4-FFF2-40B4-BE49-F238E27FC236}">
                <a16:creationId xmlns:a16="http://schemas.microsoft.com/office/drawing/2014/main" id="{2454E598-343F-41EB-AE9A-F24DF23669D2}"/>
              </a:ext>
            </a:extLst>
          </p:cNvPr>
          <p:cNvSpPr/>
          <p:nvPr/>
        </p:nvSpPr>
        <p:spPr>
          <a:xfrm>
            <a:off x="990718" y="1556438"/>
            <a:ext cx="320570" cy="320550"/>
          </a:xfrm>
          <a:custGeom>
            <a:avLst/>
            <a:gdLst>
              <a:gd name="connsiteX0" fmla="*/ 95278 w 438177"/>
              <a:gd name="connsiteY0" fmla="*/ 0 h 438150"/>
              <a:gd name="connsiteX1" fmla="*/ 47653 w 438177"/>
              <a:gd name="connsiteY1" fmla="*/ 47625 h 438150"/>
              <a:gd name="connsiteX2" fmla="*/ 95278 w 438177"/>
              <a:gd name="connsiteY2" fmla="*/ 95250 h 438150"/>
              <a:gd name="connsiteX3" fmla="*/ 142903 w 438177"/>
              <a:gd name="connsiteY3" fmla="*/ 47625 h 438150"/>
              <a:gd name="connsiteX4" fmla="*/ 95278 w 438177"/>
              <a:gd name="connsiteY4" fmla="*/ 0 h 438150"/>
              <a:gd name="connsiteX5" fmla="*/ 257203 w 438177"/>
              <a:gd name="connsiteY5" fmla="*/ 0 h 438150"/>
              <a:gd name="connsiteX6" fmla="*/ 257203 w 438177"/>
              <a:gd name="connsiteY6" fmla="*/ 19050 h 438150"/>
              <a:gd name="connsiteX7" fmla="*/ 161953 w 438177"/>
              <a:gd name="connsiteY7" fmla="*/ 19050 h 438150"/>
              <a:gd name="connsiteX8" fmla="*/ 161953 w 438177"/>
              <a:gd name="connsiteY8" fmla="*/ 38100 h 438150"/>
              <a:gd name="connsiteX9" fmla="*/ 419128 w 438177"/>
              <a:gd name="connsiteY9" fmla="*/ 38100 h 438150"/>
              <a:gd name="connsiteX10" fmla="*/ 419128 w 438177"/>
              <a:gd name="connsiteY10" fmla="*/ 285750 h 438150"/>
              <a:gd name="connsiteX11" fmla="*/ 171478 w 438177"/>
              <a:gd name="connsiteY11" fmla="*/ 285750 h 438150"/>
              <a:gd name="connsiteX12" fmla="*/ 171478 w 438177"/>
              <a:gd name="connsiteY12" fmla="*/ 304800 h 438150"/>
              <a:gd name="connsiteX13" fmla="*/ 252440 w 438177"/>
              <a:gd name="connsiteY13" fmla="*/ 304800 h 438150"/>
              <a:gd name="connsiteX14" fmla="*/ 200053 w 438177"/>
              <a:gd name="connsiteY14" fmla="*/ 409575 h 438150"/>
              <a:gd name="connsiteX15" fmla="*/ 219103 w 438177"/>
              <a:gd name="connsiteY15" fmla="*/ 409575 h 438150"/>
              <a:gd name="connsiteX16" fmla="*/ 266728 w 438177"/>
              <a:gd name="connsiteY16" fmla="*/ 314325 h 438150"/>
              <a:gd name="connsiteX17" fmla="*/ 314353 w 438177"/>
              <a:gd name="connsiteY17" fmla="*/ 409575 h 438150"/>
              <a:gd name="connsiteX18" fmla="*/ 333403 w 438177"/>
              <a:gd name="connsiteY18" fmla="*/ 409575 h 438150"/>
              <a:gd name="connsiteX19" fmla="*/ 281015 w 438177"/>
              <a:gd name="connsiteY19" fmla="*/ 304800 h 438150"/>
              <a:gd name="connsiteX20" fmla="*/ 428653 w 438177"/>
              <a:gd name="connsiteY20" fmla="*/ 304800 h 438150"/>
              <a:gd name="connsiteX21" fmla="*/ 438178 w 438177"/>
              <a:gd name="connsiteY21" fmla="*/ 295275 h 438150"/>
              <a:gd name="connsiteX22" fmla="*/ 438178 w 438177"/>
              <a:gd name="connsiteY22" fmla="*/ 28575 h 438150"/>
              <a:gd name="connsiteX23" fmla="*/ 428653 w 438177"/>
              <a:gd name="connsiteY23" fmla="*/ 19050 h 438150"/>
              <a:gd name="connsiteX24" fmla="*/ 276253 w 438177"/>
              <a:gd name="connsiteY24" fmla="*/ 19050 h 438150"/>
              <a:gd name="connsiteX25" fmla="*/ 276253 w 438177"/>
              <a:gd name="connsiteY25" fmla="*/ 0 h 438150"/>
              <a:gd name="connsiteX26" fmla="*/ 95278 w 438177"/>
              <a:gd name="connsiteY26" fmla="*/ 19050 h 438150"/>
              <a:gd name="connsiteX27" fmla="*/ 123853 w 438177"/>
              <a:gd name="connsiteY27" fmla="*/ 47625 h 438150"/>
              <a:gd name="connsiteX28" fmla="*/ 95278 w 438177"/>
              <a:gd name="connsiteY28" fmla="*/ 76200 h 438150"/>
              <a:gd name="connsiteX29" fmla="*/ 66703 w 438177"/>
              <a:gd name="connsiteY29" fmla="*/ 47625 h 438150"/>
              <a:gd name="connsiteX30" fmla="*/ 95278 w 438177"/>
              <a:gd name="connsiteY30" fmla="*/ 19050 h 438150"/>
              <a:gd name="connsiteX31" fmla="*/ 52415 w 438177"/>
              <a:gd name="connsiteY31" fmla="*/ 104775 h 438150"/>
              <a:gd name="connsiteX32" fmla="*/ 28 w 438177"/>
              <a:gd name="connsiteY32" fmla="*/ 157163 h 438150"/>
              <a:gd name="connsiteX33" fmla="*/ 28 w 438177"/>
              <a:gd name="connsiteY33" fmla="*/ 274439 h 438150"/>
              <a:gd name="connsiteX34" fmla="*/ 28 w 438177"/>
              <a:gd name="connsiteY34" fmla="*/ 275630 h 438150"/>
              <a:gd name="connsiteX35" fmla="*/ 28 w 438177"/>
              <a:gd name="connsiteY35" fmla="*/ 276225 h 438150"/>
              <a:gd name="connsiteX36" fmla="*/ 326 w 438177"/>
              <a:gd name="connsiteY36" fmla="*/ 278904 h 438150"/>
              <a:gd name="connsiteX37" fmla="*/ 28603 w 438177"/>
              <a:gd name="connsiteY37" fmla="*/ 304800 h 438150"/>
              <a:gd name="connsiteX38" fmla="*/ 38128 w 438177"/>
              <a:gd name="connsiteY38" fmla="*/ 303014 h 438150"/>
              <a:gd name="connsiteX39" fmla="*/ 38128 w 438177"/>
              <a:gd name="connsiteY39" fmla="*/ 404813 h 438150"/>
              <a:gd name="connsiteX40" fmla="*/ 71465 w 438177"/>
              <a:gd name="connsiteY40" fmla="*/ 438150 h 438150"/>
              <a:gd name="connsiteX41" fmla="*/ 95278 w 438177"/>
              <a:gd name="connsiteY41" fmla="*/ 428030 h 438150"/>
              <a:gd name="connsiteX42" fmla="*/ 119090 w 438177"/>
              <a:gd name="connsiteY42" fmla="*/ 438150 h 438150"/>
              <a:gd name="connsiteX43" fmla="*/ 152428 w 438177"/>
              <a:gd name="connsiteY43" fmla="*/ 404813 h 438150"/>
              <a:gd name="connsiteX44" fmla="*/ 152428 w 438177"/>
              <a:gd name="connsiteY44" fmla="*/ 161925 h 438150"/>
              <a:gd name="connsiteX45" fmla="*/ 257203 w 438177"/>
              <a:gd name="connsiteY45" fmla="*/ 161925 h 438150"/>
              <a:gd name="connsiteX46" fmla="*/ 285778 w 438177"/>
              <a:gd name="connsiteY46" fmla="*/ 133350 h 438150"/>
              <a:gd name="connsiteX47" fmla="*/ 257798 w 438177"/>
              <a:gd name="connsiteY47" fmla="*/ 104775 h 438150"/>
              <a:gd name="connsiteX48" fmla="*/ 257203 w 438177"/>
              <a:gd name="connsiteY48" fmla="*/ 104775 h 438150"/>
              <a:gd name="connsiteX49" fmla="*/ 123853 w 438177"/>
              <a:gd name="connsiteY49" fmla="*/ 104775 h 438150"/>
              <a:gd name="connsiteX50" fmla="*/ 115221 w 438177"/>
              <a:gd name="connsiteY50" fmla="*/ 110133 h 438150"/>
              <a:gd name="connsiteX51" fmla="*/ 95278 w 438177"/>
              <a:gd name="connsiteY51" fmla="*/ 150019 h 438150"/>
              <a:gd name="connsiteX52" fmla="*/ 75335 w 438177"/>
              <a:gd name="connsiteY52" fmla="*/ 110133 h 438150"/>
              <a:gd name="connsiteX53" fmla="*/ 66703 w 438177"/>
              <a:gd name="connsiteY53" fmla="*/ 104775 h 438150"/>
              <a:gd name="connsiteX54" fmla="*/ 52415 w 438177"/>
              <a:gd name="connsiteY54" fmla="*/ 123825 h 438150"/>
              <a:gd name="connsiteX55" fmla="*/ 60750 w 438177"/>
              <a:gd name="connsiteY55" fmla="*/ 123825 h 438150"/>
              <a:gd name="connsiteX56" fmla="*/ 86646 w 438177"/>
              <a:gd name="connsiteY56" fmla="*/ 175617 h 438150"/>
              <a:gd name="connsiteX57" fmla="*/ 95278 w 438177"/>
              <a:gd name="connsiteY57" fmla="*/ 181124 h 438150"/>
              <a:gd name="connsiteX58" fmla="*/ 103910 w 438177"/>
              <a:gd name="connsiteY58" fmla="*/ 175617 h 438150"/>
              <a:gd name="connsiteX59" fmla="*/ 129806 w 438177"/>
              <a:gd name="connsiteY59" fmla="*/ 123825 h 438150"/>
              <a:gd name="connsiteX60" fmla="*/ 257203 w 438177"/>
              <a:gd name="connsiteY60" fmla="*/ 123825 h 438150"/>
              <a:gd name="connsiteX61" fmla="*/ 258096 w 438177"/>
              <a:gd name="connsiteY61" fmla="*/ 123825 h 438150"/>
              <a:gd name="connsiteX62" fmla="*/ 266728 w 438177"/>
              <a:gd name="connsiteY62" fmla="*/ 133350 h 438150"/>
              <a:gd name="connsiteX63" fmla="*/ 257203 w 438177"/>
              <a:gd name="connsiteY63" fmla="*/ 142875 h 438150"/>
              <a:gd name="connsiteX64" fmla="*/ 142903 w 438177"/>
              <a:gd name="connsiteY64" fmla="*/ 142875 h 438150"/>
              <a:gd name="connsiteX65" fmla="*/ 133378 w 438177"/>
              <a:gd name="connsiteY65" fmla="*/ 152400 h 438150"/>
              <a:gd name="connsiteX66" fmla="*/ 133378 w 438177"/>
              <a:gd name="connsiteY66" fmla="*/ 404813 h 438150"/>
              <a:gd name="connsiteX67" fmla="*/ 119090 w 438177"/>
              <a:gd name="connsiteY67" fmla="*/ 419100 h 438150"/>
              <a:gd name="connsiteX68" fmla="*/ 104803 w 438177"/>
              <a:gd name="connsiteY68" fmla="*/ 406301 h 438150"/>
              <a:gd name="connsiteX69" fmla="*/ 104803 w 438177"/>
              <a:gd name="connsiteY69" fmla="*/ 403920 h 438150"/>
              <a:gd name="connsiteX70" fmla="*/ 104803 w 438177"/>
              <a:gd name="connsiteY70" fmla="*/ 403027 h 438150"/>
              <a:gd name="connsiteX71" fmla="*/ 104803 w 438177"/>
              <a:gd name="connsiteY71" fmla="*/ 304800 h 438150"/>
              <a:gd name="connsiteX72" fmla="*/ 101826 w 438177"/>
              <a:gd name="connsiteY72" fmla="*/ 297545 h 438150"/>
              <a:gd name="connsiteX73" fmla="*/ 94385 w 438177"/>
              <a:gd name="connsiteY73" fmla="*/ 294977 h 438150"/>
              <a:gd name="connsiteX74" fmla="*/ 93194 w 438177"/>
              <a:gd name="connsiteY74" fmla="*/ 295275 h 438150"/>
              <a:gd name="connsiteX75" fmla="*/ 85753 w 438177"/>
              <a:gd name="connsiteY75" fmla="*/ 304800 h 438150"/>
              <a:gd name="connsiteX76" fmla="*/ 85753 w 438177"/>
              <a:gd name="connsiteY76" fmla="*/ 403027 h 438150"/>
              <a:gd name="connsiteX77" fmla="*/ 85753 w 438177"/>
              <a:gd name="connsiteY77" fmla="*/ 404217 h 438150"/>
              <a:gd name="connsiteX78" fmla="*/ 85753 w 438177"/>
              <a:gd name="connsiteY78" fmla="*/ 406301 h 438150"/>
              <a:gd name="connsiteX79" fmla="*/ 71465 w 438177"/>
              <a:gd name="connsiteY79" fmla="*/ 419100 h 438150"/>
              <a:gd name="connsiteX80" fmla="*/ 57178 w 438177"/>
              <a:gd name="connsiteY80" fmla="*/ 404813 h 438150"/>
              <a:gd name="connsiteX81" fmla="*/ 57178 w 438177"/>
              <a:gd name="connsiteY81" fmla="*/ 180975 h 438150"/>
              <a:gd name="connsiteX82" fmla="*/ 53680 w 438177"/>
              <a:gd name="connsiteY82" fmla="*/ 173385 h 438150"/>
              <a:gd name="connsiteX83" fmla="*/ 45569 w 438177"/>
              <a:gd name="connsiteY83" fmla="*/ 171450 h 438150"/>
              <a:gd name="connsiteX84" fmla="*/ 38128 w 438177"/>
              <a:gd name="connsiteY84" fmla="*/ 180975 h 438150"/>
              <a:gd name="connsiteX85" fmla="*/ 38128 w 438177"/>
              <a:gd name="connsiteY85" fmla="*/ 274737 h 438150"/>
              <a:gd name="connsiteX86" fmla="*/ 38128 w 438177"/>
              <a:gd name="connsiteY86" fmla="*/ 275630 h 438150"/>
              <a:gd name="connsiteX87" fmla="*/ 38128 w 438177"/>
              <a:gd name="connsiteY87" fmla="*/ 276225 h 438150"/>
              <a:gd name="connsiteX88" fmla="*/ 28603 w 438177"/>
              <a:gd name="connsiteY88" fmla="*/ 285750 h 438150"/>
              <a:gd name="connsiteX89" fmla="*/ 19078 w 438177"/>
              <a:gd name="connsiteY89" fmla="*/ 276820 h 438150"/>
              <a:gd name="connsiteX90" fmla="*/ 19078 w 438177"/>
              <a:gd name="connsiteY90" fmla="*/ 276225 h 438150"/>
              <a:gd name="connsiteX91" fmla="*/ 19078 w 438177"/>
              <a:gd name="connsiteY91" fmla="*/ 274439 h 438150"/>
              <a:gd name="connsiteX92" fmla="*/ 19078 w 438177"/>
              <a:gd name="connsiteY92" fmla="*/ 157163 h 438150"/>
              <a:gd name="connsiteX93" fmla="*/ 52415 w 438177"/>
              <a:gd name="connsiteY93" fmla="*/ 1238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8177" h="438150">
                <a:moveTo>
                  <a:pt x="95278" y="0"/>
                </a:moveTo>
                <a:cubicBezTo>
                  <a:pt x="69084" y="0"/>
                  <a:pt x="47653" y="21431"/>
                  <a:pt x="47653" y="47625"/>
                </a:cubicBezTo>
                <a:cubicBezTo>
                  <a:pt x="47653" y="73819"/>
                  <a:pt x="69084" y="95250"/>
                  <a:pt x="95278" y="95250"/>
                </a:cubicBezTo>
                <a:cubicBezTo>
                  <a:pt x="121472" y="95250"/>
                  <a:pt x="142903" y="73819"/>
                  <a:pt x="142903" y="47625"/>
                </a:cubicBezTo>
                <a:cubicBezTo>
                  <a:pt x="142903" y="21431"/>
                  <a:pt x="121472" y="0"/>
                  <a:pt x="95278" y="0"/>
                </a:cubicBezTo>
                <a:close/>
                <a:moveTo>
                  <a:pt x="257203" y="0"/>
                </a:moveTo>
                <a:lnTo>
                  <a:pt x="257203" y="19050"/>
                </a:lnTo>
                <a:lnTo>
                  <a:pt x="161953" y="19050"/>
                </a:lnTo>
                <a:lnTo>
                  <a:pt x="161953" y="38100"/>
                </a:lnTo>
                <a:lnTo>
                  <a:pt x="419128" y="38100"/>
                </a:lnTo>
                <a:lnTo>
                  <a:pt x="419128" y="285750"/>
                </a:lnTo>
                <a:lnTo>
                  <a:pt x="171478" y="285750"/>
                </a:lnTo>
                <a:lnTo>
                  <a:pt x="171478" y="304800"/>
                </a:lnTo>
                <a:lnTo>
                  <a:pt x="252440" y="304800"/>
                </a:lnTo>
                <a:lnTo>
                  <a:pt x="200053" y="409575"/>
                </a:lnTo>
                <a:lnTo>
                  <a:pt x="219103" y="409575"/>
                </a:lnTo>
                <a:lnTo>
                  <a:pt x="266728" y="314325"/>
                </a:lnTo>
                <a:lnTo>
                  <a:pt x="314353" y="409575"/>
                </a:lnTo>
                <a:lnTo>
                  <a:pt x="333403" y="409575"/>
                </a:lnTo>
                <a:lnTo>
                  <a:pt x="281015" y="304800"/>
                </a:lnTo>
                <a:lnTo>
                  <a:pt x="428653" y="304800"/>
                </a:lnTo>
                <a:cubicBezTo>
                  <a:pt x="433899" y="304800"/>
                  <a:pt x="438178" y="300521"/>
                  <a:pt x="438178" y="295275"/>
                </a:cubicBezTo>
                <a:lnTo>
                  <a:pt x="438178" y="28575"/>
                </a:lnTo>
                <a:cubicBezTo>
                  <a:pt x="438178" y="23329"/>
                  <a:pt x="433899" y="19050"/>
                  <a:pt x="428653" y="19050"/>
                </a:cubicBezTo>
                <a:lnTo>
                  <a:pt x="276253" y="19050"/>
                </a:lnTo>
                <a:lnTo>
                  <a:pt x="276253" y="0"/>
                </a:lnTo>
                <a:close/>
                <a:moveTo>
                  <a:pt x="95278" y="19050"/>
                </a:moveTo>
                <a:cubicBezTo>
                  <a:pt x="111165" y="19050"/>
                  <a:pt x="123853" y="31738"/>
                  <a:pt x="123853" y="47625"/>
                </a:cubicBezTo>
                <a:cubicBezTo>
                  <a:pt x="123853" y="63512"/>
                  <a:pt x="111165" y="76200"/>
                  <a:pt x="95278" y="76200"/>
                </a:cubicBezTo>
                <a:cubicBezTo>
                  <a:pt x="79391" y="76200"/>
                  <a:pt x="66703" y="63512"/>
                  <a:pt x="66703" y="47625"/>
                </a:cubicBezTo>
                <a:cubicBezTo>
                  <a:pt x="66703" y="31738"/>
                  <a:pt x="79391" y="19050"/>
                  <a:pt x="95278" y="19050"/>
                </a:cubicBezTo>
                <a:close/>
                <a:moveTo>
                  <a:pt x="52415" y="104775"/>
                </a:moveTo>
                <a:cubicBezTo>
                  <a:pt x="23580" y="104775"/>
                  <a:pt x="28" y="128327"/>
                  <a:pt x="28" y="157163"/>
                </a:cubicBezTo>
                <a:lnTo>
                  <a:pt x="28" y="274439"/>
                </a:lnTo>
                <a:cubicBezTo>
                  <a:pt x="-9" y="274848"/>
                  <a:pt x="-9" y="275220"/>
                  <a:pt x="28" y="275630"/>
                </a:cubicBezTo>
                <a:lnTo>
                  <a:pt x="28" y="276225"/>
                </a:lnTo>
                <a:cubicBezTo>
                  <a:pt x="-9" y="277118"/>
                  <a:pt x="102" y="278048"/>
                  <a:pt x="326" y="278904"/>
                </a:cubicBezTo>
                <a:cubicBezTo>
                  <a:pt x="1739" y="293303"/>
                  <a:pt x="13869" y="304800"/>
                  <a:pt x="28603" y="304800"/>
                </a:cubicBezTo>
                <a:cubicBezTo>
                  <a:pt x="31952" y="304800"/>
                  <a:pt x="35114" y="304093"/>
                  <a:pt x="38128" y="303014"/>
                </a:cubicBezTo>
                <a:lnTo>
                  <a:pt x="38128" y="404813"/>
                </a:lnTo>
                <a:cubicBezTo>
                  <a:pt x="38128" y="423118"/>
                  <a:pt x="53160" y="438150"/>
                  <a:pt x="71465" y="438150"/>
                </a:cubicBezTo>
                <a:cubicBezTo>
                  <a:pt x="80767" y="438150"/>
                  <a:pt x="89213" y="434243"/>
                  <a:pt x="95278" y="428030"/>
                </a:cubicBezTo>
                <a:cubicBezTo>
                  <a:pt x="101343" y="434243"/>
                  <a:pt x="109789" y="438150"/>
                  <a:pt x="119090" y="438150"/>
                </a:cubicBezTo>
                <a:cubicBezTo>
                  <a:pt x="137396" y="438150"/>
                  <a:pt x="152428" y="423118"/>
                  <a:pt x="152428" y="404813"/>
                </a:cubicBezTo>
                <a:lnTo>
                  <a:pt x="152428" y="161925"/>
                </a:lnTo>
                <a:lnTo>
                  <a:pt x="257203" y="161925"/>
                </a:lnTo>
                <a:cubicBezTo>
                  <a:pt x="272867" y="161925"/>
                  <a:pt x="285778" y="149014"/>
                  <a:pt x="285778" y="133350"/>
                </a:cubicBezTo>
                <a:cubicBezTo>
                  <a:pt x="285778" y="117872"/>
                  <a:pt x="273202" y="105110"/>
                  <a:pt x="257798" y="104775"/>
                </a:cubicBezTo>
                <a:cubicBezTo>
                  <a:pt x="257612" y="104775"/>
                  <a:pt x="257389" y="104775"/>
                  <a:pt x="257203" y="104775"/>
                </a:cubicBezTo>
                <a:lnTo>
                  <a:pt x="123853" y="104775"/>
                </a:lnTo>
                <a:cubicBezTo>
                  <a:pt x="120169" y="104738"/>
                  <a:pt x="116821" y="106821"/>
                  <a:pt x="115221" y="110133"/>
                </a:cubicBezTo>
                <a:lnTo>
                  <a:pt x="95278" y="150019"/>
                </a:lnTo>
                <a:lnTo>
                  <a:pt x="75335" y="110133"/>
                </a:lnTo>
                <a:cubicBezTo>
                  <a:pt x="73735" y="106821"/>
                  <a:pt x="70386" y="104738"/>
                  <a:pt x="66703" y="104775"/>
                </a:cubicBezTo>
                <a:close/>
                <a:moveTo>
                  <a:pt x="52415" y="123825"/>
                </a:moveTo>
                <a:lnTo>
                  <a:pt x="60750" y="123825"/>
                </a:lnTo>
                <a:lnTo>
                  <a:pt x="86646" y="175617"/>
                </a:lnTo>
                <a:cubicBezTo>
                  <a:pt x="88209" y="178966"/>
                  <a:pt x="91594" y="181124"/>
                  <a:pt x="95278" y="181124"/>
                </a:cubicBezTo>
                <a:cubicBezTo>
                  <a:pt x="98961" y="181124"/>
                  <a:pt x="102347" y="178966"/>
                  <a:pt x="103910" y="175617"/>
                </a:cubicBezTo>
                <a:lnTo>
                  <a:pt x="129806" y="123825"/>
                </a:lnTo>
                <a:lnTo>
                  <a:pt x="257203" y="123825"/>
                </a:lnTo>
                <a:cubicBezTo>
                  <a:pt x="257501" y="123825"/>
                  <a:pt x="257798" y="123825"/>
                  <a:pt x="258096" y="123825"/>
                </a:cubicBezTo>
                <a:cubicBezTo>
                  <a:pt x="263044" y="124271"/>
                  <a:pt x="266728" y="128290"/>
                  <a:pt x="266728" y="133350"/>
                </a:cubicBezTo>
                <a:cubicBezTo>
                  <a:pt x="266728" y="138745"/>
                  <a:pt x="262598" y="142875"/>
                  <a:pt x="257203" y="142875"/>
                </a:cubicBezTo>
                <a:lnTo>
                  <a:pt x="142903" y="142875"/>
                </a:lnTo>
                <a:cubicBezTo>
                  <a:pt x="137657" y="142875"/>
                  <a:pt x="133378" y="147154"/>
                  <a:pt x="133378" y="152400"/>
                </a:cubicBezTo>
                <a:lnTo>
                  <a:pt x="133378" y="404813"/>
                </a:lnTo>
                <a:cubicBezTo>
                  <a:pt x="133378" y="412812"/>
                  <a:pt x="127090" y="419100"/>
                  <a:pt x="119090" y="419100"/>
                </a:cubicBezTo>
                <a:cubicBezTo>
                  <a:pt x="111575" y="419100"/>
                  <a:pt x="105510" y="413593"/>
                  <a:pt x="104803" y="406301"/>
                </a:cubicBezTo>
                <a:lnTo>
                  <a:pt x="104803" y="403920"/>
                </a:lnTo>
                <a:cubicBezTo>
                  <a:pt x="104803" y="403622"/>
                  <a:pt x="104803" y="403324"/>
                  <a:pt x="104803" y="403027"/>
                </a:cubicBezTo>
                <a:lnTo>
                  <a:pt x="104803" y="304800"/>
                </a:lnTo>
                <a:cubicBezTo>
                  <a:pt x="104915" y="302047"/>
                  <a:pt x="103798" y="299405"/>
                  <a:pt x="101826" y="297545"/>
                </a:cubicBezTo>
                <a:cubicBezTo>
                  <a:pt x="99817" y="295647"/>
                  <a:pt x="97101" y="294717"/>
                  <a:pt x="94385" y="294977"/>
                </a:cubicBezTo>
                <a:cubicBezTo>
                  <a:pt x="93976" y="295052"/>
                  <a:pt x="93566" y="295163"/>
                  <a:pt x="93194" y="295275"/>
                </a:cubicBezTo>
                <a:cubicBezTo>
                  <a:pt x="88767" y="296280"/>
                  <a:pt x="85641" y="300261"/>
                  <a:pt x="85753" y="304800"/>
                </a:cubicBezTo>
                <a:lnTo>
                  <a:pt x="85753" y="403027"/>
                </a:lnTo>
                <a:cubicBezTo>
                  <a:pt x="85716" y="403436"/>
                  <a:pt x="85716" y="403808"/>
                  <a:pt x="85753" y="404217"/>
                </a:cubicBezTo>
                <a:lnTo>
                  <a:pt x="85753" y="406301"/>
                </a:lnTo>
                <a:cubicBezTo>
                  <a:pt x="85046" y="413593"/>
                  <a:pt x="78981" y="419100"/>
                  <a:pt x="71465" y="419100"/>
                </a:cubicBezTo>
                <a:cubicBezTo>
                  <a:pt x="63466" y="419100"/>
                  <a:pt x="57178" y="412812"/>
                  <a:pt x="57178" y="404813"/>
                </a:cubicBezTo>
                <a:lnTo>
                  <a:pt x="57178" y="180975"/>
                </a:lnTo>
                <a:cubicBezTo>
                  <a:pt x="57252" y="178036"/>
                  <a:pt x="55950" y="175245"/>
                  <a:pt x="53680" y="173385"/>
                </a:cubicBezTo>
                <a:cubicBezTo>
                  <a:pt x="51448" y="171524"/>
                  <a:pt x="48434" y="170817"/>
                  <a:pt x="45569" y="171450"/>
                </a:cubicBezTo>
                <a:cubicBezTo>
                  <a:pt x="41142" y="172455"/>
                  <a:pt x="38016" y="176436"/>
                  <a:pt x="38128" y="180975"/>
                </a:cubicBezTo>
                <a:lnTo>
                  <a:pt x="38128" y="274737"/>
                </a:lnTo>
                <a:cubicBezTo>
                  <a:pt x="38128" y="275034"/>
                  <a:pt x="38128" y="275332"/>
                  <a:pt x="38128" y="275630"/>
                </a:cubicBezTo>
                <a:lnTo>
                  <a:pt x="38128" y="276225"/>
                </a:lnTo>
                <a:cubicBezTo>
                  <a:pt x="38128" y="281620"/>
                  <a:pt x="33998" y="285750"/>
                  <a:pt x="28603" y="285750"/>
                </a:cubicBezTo>
                <a:cubicBezTo>
                  <a:pt x="23431" y="285750"/>
                  <a:pt x="19376" y="281918"/>
                  <a:pt x="19078" y="276820"/>
                </a:cubicBezTo>
                <a:cubicBezTo>
                  <a:pt x="19078" y="276634"/>
                  <a:pt x="19078" y="276411"/>
                  <a:pt x="19078" y="276225"/>
                </a:cubicBezTo>
                <a:cubicBezTo>
                  <a:pt x="19152" y="275630"/>
                  <a:pt x="19152" y="275034"/>
                  <a:pt x="19078" y="274439"/>
                </a:cubicBezTo>
                <a:lnTo>
                  <a:pt x="19078" y="157163"/>
                </a:lnTo>
                <a:cubicBezTo>
                  <a:pt x="19078" y="138633"/>
                  <a:pt x="33886" y="123825"/>
                  <a:pt x="52415" y="123825"/>
                </a:cubicBezTo>
                <a:close/>
              </a:path>
            </a:pathLst>
          </a:custGeom>
          <a:solidFill>
            <a:schemeClr val="bg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133"/>
          </a:p>
        </p:txBody>
      </p:sp>
      <p:sp>
        <p:nvSpPr>
          <p:cNvPr id="55" name="Pentagon 23">
            <a:extLst>
              <a:ext uri="{FF2B5EF4-FFF2-40B4-BE49-F238E27FC236}">
                <a16:creationId xmlns:a16="http://schemas.microsoft.com/office/drawing/2014/main" id="{6F4F90CC-D6D0-478E-A1B4-7C73E42248DB}"/>
              </a:ext>
            </a:extLst>
          </p:cNvPr>
          <p:cNvSpPr/>
          <p:nvPr/>
        </p:nvSpPr>
        <p:spPr>
          <a:xfrm>
            <a:off x="1145628" y="218858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chemeClr val="accent4"/>
                </a:solidFill>
                <a:cs typeface="Arial" panose="020B0604020202020204" pitchFamily="34" charset="0"/>
              </a:rPr>
              <a:t>OOP recap</a:t>
            </a:r>
          </a:p>
        </p:txBody>
      </p:sp>
      <p:sp>
        <p:nvSpPr>
          <p:cNvPr id="57" name="Oval 56">
            <a:extLst>
              <a:ext uri="{FF2B5EF4-FFF2-40B4-BE49-F238E27FC236}">
                <a16:creationId xmlns:a16="http://schemas.microsoft.com/office/drawing/2014/main" id="{A4320068-0C27-C478-1818-659D6E54ABB3}"/>
              </a:ext>
            </a:extLst>
          </p:cNvPr>
          <p:cNvSpPr/>
          <p:nvPr/>
        </p:nvSpPr>
        <p:spPr>
          <a:xfrm>
            <a:off x="839218" y="2193204"/>
            <a:ext cx="623570" cy="623570"/>
          </a:xfrm>
          <a:prstGeom prst="ellipse">
            <a:avLst/>
          </a:prstGeom>
          <a:solidFill>
            <a:srgbClr val="E36053"/>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5" name="Pentagon 23">
            <a:extLst>
              <a:ext uri="{FF2B5EF4-FFF2-40B4-BE49-F238E27FC236}">
                <a16:creationId xmlns:a16="http://schemas.microsoft.com/office/drawing/2014/main" id="{4DF64A59-F14B-6897-5DA8-4518E033B3A1}"/>
              </a:ext>
            </a:extLst>
          </p:cNvPr>
          <p:cNvSpPr/>
          <p:nvPr/>
        </p:nvSpPr>
        <p:spPr>
          <a:xfrm>
            <a:off x="1125637" y="297224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US" sz="2133" b="1" kern="0">
                <a:cs typeface="Arial" panose="020B0604020202020204" pitchFamily="34" charset="0"/>
              </a:rPr>
              <a:t>From OOP to MVC Pattern</a:t>
            </a:r>
            <a:endParaRPr lang="en-IN" sz="2133" b="1" kern="0">
              <a:cs typeface="Arial" panose="020B0604020202020204" pitchFamily="34" charset="0"/>
            </a:endParaRPr>
          </a:p>
        </p:txBody>
      </p:sp>
      <p:sp>
        <p:nvSpPr>
          <p:cNvPr id="67" name="Oval 66">
            <a:extLst>
              <a:ext uri="{FF2B5EF4-FFF2-40B4-BE49-F238E27FC236}">
                <a16:creationId xmlns:a16="http://schemas.microsoft.com/office/drawing/2014/main" id="{32E4ECB2-EF44-3F75-2577-EA5AF77003E1}"/>
              </a:ext>
            </a:extLst>
          </p:cNvPr>
          <p:cNvSpPr/>
          <p:nvPr/>
        </p:nvSpPr>
        <p:spPr>
          <a:xfrm>
            <a:off x="819227" y="297686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9" name="Pentagon 23">
            <a:extLst>
              <a:ext uri="{FF2B5EF4-FFF2-40B4-BE49-F238E27FC236}">
                <a16:creationId xmlns:a16="http://schemas.microsoft.com/office/drawing/2014/main" id="{FE52C954-768F-3FCA-7622-C82F5057646A}"/>
              </a:ext>
            </a:extLst>
          </p:cNvPr>
          <p:cNvSpPr/>
          <p:nvPr/>
        </p:nvSpPr>
        <p:spPr>
          <a:xfrm>
            <a:off x="1145628" y="375128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 to Design pattern</a:t>
            </a:r>
          </a:p>
        </p:txBody>
      </p:sp>
      <p:sp>
        <p:nvSpPr>
          <p:cNvPr id="71" name="Oval 70">
            <a:extLst>
              <a:ext uri="{FF2B5EF4-FFF2-40B4-BE49-F238E27FC236}">
                <a16:creationId xmlns:a16="http://schemas.microsoft.com/office/drawing/2014/main" id="{6EB4E7E0-3C85-1975-BB96-8679FE863E33}"/>
              </a:ext>
            </a:extLst>
          </p:cNvPr>
          <p:cNvSpPr/>
          <p:nvPr/>
        </p:nvSpPr>
        <p:spPr>
          <a:xfrm>
            <a:off x="839218" y="375590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3" name="Pentagon 23">
            <a:extLst>
              <a:ext uri="{FF2B5EF4-FFF2-40B4-BE49-F238E27FC236}">
                <a16:creationId xmlns:a16="http://schemas.microsoft.com/office/drawing/2014/main" id="{A0DF5099-3F9D-FD74-E8AC-C3C8489FECAD}"/>
              </a:ext>
            </a:extLst>
          </p:cNvPr>
          <p:cNvSpPr/>
          <p:nvPr/>
        </p:nvSpPr>
        <p:spPr>
          <a:xfrm>
            <a:off x="1145628" y="452570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Summarize	</a:t>
            </a:r>
          </a:p>
        </p:txBody>
      </p:sp>
      <p:sp>
        <p:nvSpPr>
          <p:cNvPr id="75" name="Oval 74">
            <a:extLst>
              <a:ext uri="{FF2B5EF4-FFF2-40B4-BE49-F238E27FC236}">
                <a16:creationId xmlns:a16="http://schemas.microsoft.com/office/drawing/2014/main" id="{C4A0805E-7274-BF67-74AF-E5037B91C888}"/>
              </a:ext>
            </a:extLst>
          </p:cNvPr>
          <p:cNvSpPr/>
          <p:nvPr/>
        </p:nvSpPr>
        <p:spPr>
          <a:xfrm>
            <a:off x="839218" y="453032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7" name="Pentagon 23">
            <a:extLst>
              <a:ext uri="{FF2B5EF4-FFF2-40B4-BE49-F238E27FC236}">
                <a16:creationId xmlns:a16="http://schemas.microsoft.com/office/drawing/2014/main" id="{1C8CEF69-E7A2-2D0D-33AB-7E2E99D02DD6}"/>
              </a:ext>
            </a:extLst>
          </p:cNvPr>
          <p:cNvSpPr/>
          <p:nvPr/>
        </p:nvSpPr>
        <p:spPr>
          <a:xfrm>
            <a:off x="1145628" y="52955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Q&amp;A</a:t>
            </a:r>
          </a:p>
        </p:txBody>
      </p:sp>
      <p:sp>
        <p:nvSpPr>
          <p:cNvPr id="79" name="Oval 78">
            <a:extLst>
              <a:ext uri="{FF2B5EF4-FFF2-40B4-BE49-F238E27FC236}">
                <a16:creationId xmlns:a16="http://schemas.microsoft.com/office/drawing/2014/main" id="{F2ED4571-F02C-1835-A1E6-C3F83E39CEB0}"/>
              </a:ext>
            </a:extLst>
          </p:cNvPr>
          <p:cNvSpPr/>
          <p:nvPr/>
        </p:nvSpPr>
        <p:spPr>
          <a:xfrm>
            <a:off x="839218" y="53001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pic>
        <p:nvPicPr>
          <p:cNvPr id="82" name="Graphic 81" descr="Link with solid fill">
            <a:extLst>
              <a:ext uri="{FF2B5EF4-FFF2-40B4-BE49-F238E27FC236}">
                <a16:creationId xmlns:a16="http://schemas.microsoft.com/office/drawing/2014/main" id="{C2F0AFED-92B1-95CF-879E-FC0A87C46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987" y="3092622"/>
            <a:ext cx="392051" cy="392051"/>
          </a:xfrm>
          <a:prstGeom prst="rect">
            <a:avLst/>
          </a:prstGeom>
        </p:spPr>
      </p:pic>
      <p:pic>
        <p:nvPicPr>
          <p:cNvPr id="84" name="Graphic 83" descr="Beginning with solid fill">
            <a:extLst>
              <a:ext uri="{FF2B5EF4-FFF2-40B4-BE49-F238E27FC236}">
                <a16:creationId xmlns:a16="http://schemas.microsoft.com/office/drawing/2014/main" id="{8943C64C-301A-050E-AA8B-1A7E381B25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2853" y="2316839"/>
            <a:ext cx="376301" cy="376301"/>
          </a:xfrm>
          <a:prstGeom prst="rect">
            <a:avLst/>
          </a:prstGeom>
        </p:spPr>
      </p:pic>
      <p:pic>
        <p:nvPicPr>
          <p:cNvPr id="86" name="Graphic 85" descr="Document with solid fill">
            <a:extLst>
              <a:ext uri="{FF2B5EF4-FFF2-40B4-BE49-F238E27FC236}">
                <a16:creationId xmlns:a16="http://schemas.microsoft.com/office/drawing/2014/main" id="{B284069A-20B2-FE9A-0D4D-212FF7F88D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6129" y="3882813"/>
            <a:ext cx="369748" cy="369748"/>
          </a:xfrm>
          <a:prstGeom prst="rect">
            <a:avLst/>
          </a:prstGeom>
        </p:spPr>
      </p:pic>
      <p:pic>
        <p:nvPicPr>
          <p:cNvPr id="88" name="Graphic 87" descr="Clipboard Partially Checked with solid fill">
            <a:extLst>
              <a:ext uri="{FF2B5EF4-FFF2-40B4-BE49-F238E27FC236}">
                <a16:creationId xmlns:a16="http://schemas.microsoft.com/office/drawing/2014/main" id="{49AB76FA-134A-CF98-5B5C-D1ABE51235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3878" y="4634984"/>
            <a:ext cx="414251" cy="414251"/>
          </a:xfrm>
          <a:prstGeom prst="rect">
            <a:avLst/>
          </a:prstGeom>
        </p:spPr>
      </p:pic>
      <p:pic>
        <p:nvPicPr>
          <p:cNvPr id="90" name="Graphic 89" descr="Customer review with solid fill">
            <a:extLst>
              <a:ext uri="{FF2B5EF4-FFF2-40B4-BE49-F238E27FC236}">
                <a16:creationId xmlns:a16="http://schemas.microsoft.com/office/drawing/2014/main" id="{1F145EE0-CDF6-91BD-28A0-D8FF0CB8B9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751" y="5405661"/>
            <a:ext cx="412505" cy="412505"/>
          </a:xfrm>
          <a:prstGeom prst="rect">
            <a:avLst/>
          </a:prstGeom>
        </p:spPr>
      </p:pic>
    </p:spTree>
    <p:custDataLst>
      <p:tags r:id="rId1"/>
    </p:custDataLst>
    <p:extLst>
      <p:ext uri="{BB962C8B-B14F-4D97-AF65-F5344CB8AC3E}">
        <p14:creationId xmlns:p14="http://schemas.microsoft.com/office/powerpoint/2010/main" val="33009368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Three types of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8"/>
            <a:ext cx="10794942" cy="452408"/>
          </a:xfrm>
          <a:prstGeom prst="rect">
            <a:avLst/>
          </a:prstGeom>
          <a:noFill/>
          <a:ln>
            <a:solidFill>
              <a:schemeClr val="bg1"/>
            </a:solidFill>
          </a:ln>
        </p:spPr>
        <p:txBody>
          <a:bodyPr wrap="square" lIns="0" tIns="0" rIns="0" bIns="0" rtlCol="0" anchor="t">
            <a:noAutofit/>
          </a:bodyPr>
          <a:lstStyle/>
          <a:p>
            <a:r>
              <a:rPr lang="en-US" b="1" i="1" u="sng"/>
              <a:t>Behavioral design patterns</a:t>
            </a:r>
            <a:r>
              <a:rPr lang="en-US"/>
              <a:t> are concerned with </a:t>
            </a:r>
            <a:r>
              <a:rPr lang="en-US" b="1"/>
              <a:t>algorithms</a:t>
            </a:r>
            <a:r>
              <a:rPr lang="en-US"/>
              <a:t> and the assignment of </a:t>
            </a:r>
            <a:r>
              <a:rPr lang="en-US" b="1"/>
              <a:t>responsibilities</a:t>
            </a:r>
            <a:r>
              <a:rPr lang="en-US"/>
              <a:t> between objects. </a:t>
            </a:r>
            <a:endParaRPr lang="vi-VN"/>
          </a:p>
        </p:txBody>
      </p:sp>
      <p:pic>
        <p:nvPicPr>
          <p:cNvPr id="3" name="Picture 2" descr="A picture containing text, screenshot, font, line&#10;&#10;Description automatically generated">
            <a:extLst>
              <a:ext uri="{FF2B5EF4-FFF2-40B4-BE49-F238E27FC236}">
                <a16:creationId xmlns:a16="http://schemas.microsoft.com/office/drawing/2014/main" id="{54CECFFD-C539-865B-83AA-5E56403DCB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1533" y="3108704"/>
            <a:ext cx="3250867" cy="2243420"/>
          </a:xfrm>
          <a:prstGeom prst="rect">
            <a:avLst/>
          </a:prstGeom>
        </p:spPr>
      </p:pic>
      <p:pic>
        <p:nvPicPr>
          <p:cNvPr id="7" name="Picture 6" descr="A picture containing text, screenshot, font, logo&#10;&#10;Description automatically generated">
            <a:extLst>
              <a:ext uri="{FF2B5EF4-FFF2-40B4-BE49-F238E27FC236}">
                <a16:creationId xmlns:a16="http://schemas.microsoft.com/office/drawing/2014/main" id="{495098AC-AC0D-0A2E-9E37-6E5764858E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10253" y="3116007"/>
            <a:ext cx="3597077" cy="2237468"/>
          </a:xfrm>
          <a:prstGeom prst="rect">
            <a:avLst/>
          </a:prstGeom>
        </p:spPr>
      </p:pic>
      <p:pic>
        <p:nvPicPr>
          <p:cNvPr id="12" name="Picture 11" descr="A picture containing text, screenshot, font, design&#10;&#10;Description automatically generated">
            <a:extLst>
              <a:ext uri="{FF2B5EF4-FFF2-40B4-BE49-F238E27FC236}">
                <a16:creationId xmlns:a16="http://schemas.microsoft.com/office/drawing/2014/main" id="{77B5506D-452B-9EC3-68B8-924C4835ED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68637" y="3116007"/>
            <a:ext cx="3597077" cy="2236117"/>
          </a:xfrm>
          <a:prstGeom prst="rect">
            <a:avLst/>
          </a:prstGeom>
        </p:spPr>
      </p:pic>
    </p:spTree>
    <p:custDataLst>
      <p:tags r:id="rId1"/>
    </p:custDataLst>
    <p:extLst>
      <p:ext uri="{BB962C8B-B14F-4D97-AF65-F5344CB8AC3E}">
        <p14:creationId xmlns:p14="http://schemas.microsoft.com/office/powerpoint/2010/main" val="29687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1392080" y="2896200"/>
            <a:ext cx="9412800" cy="1065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r>
              <a:rPr kumimoji="0" lang="en-US" sz="3000" b="0" i="0" u="none" strike="noStrike" kern="0" cap="none" spc="0" normalizeH="0" baseline="0" noProof="0">
                <a:ln>
                  <a:noFill/>
                </a:ln>
                <a:solidFill>
                  <a:schemeClr val="tx1"/>
                </a:solidFill>
                <a:effectLst/>
                <a:uLnTx/>
                <a:uFillTx/>
                <a:ea typeface="+mn-ea"/>
                <a:cs typeface="Arial" pitchFamily="34"/>
              </a:rPr>
              <a:t>How to find and apply a common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10799920" y="2896200"/>
            <a:ext cx="50000" cy="1065600"/>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Tree>
    <p:custDataLst>
      <p:tags r:id="rId1"/>
    </p:custDataLst>
    <p:extLst>
      <p:ext uri="{BB962C8B-B14F-4D97-AF65-F5344CB8AC3E}">
        <p14:creationId xmlns:p14="http://schemas.microsoft.com/office/powerpoint/2010/main" val="211795058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FBCD103-F8D7-4BDC-B19D-E0FB466A6C6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9" name="Object 18" hidden="1">
                        <a:extLst>
                          <a:ext uri="{FF2B5EF4-FFF2-40B4-BE49-F238E27FC236}">
                            <a16:creationId xmlns:a16="http://schemas.microsoft.com/office/drawing/2014/main" id="{1FBCD103-F8D7-4BDC-B19D-E0FB466A6C6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06155B41-EB7E-42CD-B593-9C8A4FA5D10A}"/>
              </a:ext>
            </a:extLst>
          </p:cNvPr>
          <p:cNvSpPr/>
          <p:nvPr/>
        </p:nvSpPr>
        <p:spPr>
          <a:xfrm>
            <a:off x="711533" y="1402680"/>
            <a:ext cx="5384468" cy="282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r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lvl="0" defTabSz="609585">
              <a:spcBef>
                <a:spcPts val="800"/>
              </a:spcBef>
              <a:defRPr sz="1800" b="0" i="0" u="none" strike="noStrike" kern="0" cap="none" spc="0" baseline="0">
                <a:solidFill>
                  <a:srgbClr val="000000"/>
                </a:solidFill>
                <a:uFillTx/>
              </a:defRPr>
            </a:pPr>
            <a:r>
              <a:rPr lang="en-US" sz="1600" kern="0">
                <a:cs typeface="Arial" pitchFamily="34"/>
              </a:rPr>
              <a:t>How to find and apply a common design pattern</a:t>
            </a:r>
          </a:p>
        </p:txBody>
      </p:sp>
      <p:sp>
        <p:nvSpPr>
          <p:cNvPr id="5" name="Title 4"/>
          <p:cNvSpPr>
            <a:spLocks noGrp="1"/>
          </p:cNvSpPr>
          <p:nvPr>
            <p:ph type="title"/>
          </p:nvPr>
        </p:nvSpPr>
        <p:spPr/>
        <p:txBody>
          <a:bodyPr vert="horz"/>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1800"/>
              <a:t>Introduction to Design Pattern</a:t>
            </a:r>
            <a:endParaRPr lang="en-US"/>
          </a:p>
        </p:txBody>
      </p:sp>
      <p:sp>
        <p:nvSpPr>
          <p:cNvPr id="51" name="Oval 50">
            <a:extLst>
              <a:ext uri="{FF2B5EF4-FFF2-40B4-BE49-F238E27FC236}">
                <a16:creationId xmlns:a16="http://schemas.microsoft.com/office/drawing/2014/main" id="{E6D08930-96E7-4CE2-96AD-7011200C2A51}"/>
              </a:ext>
            </a:extLst>
          </p:cNvPr>
          <p:cNvSpPr/>
          <p:nvPr/>
        </p:nvSpPr>
        <p:spPr>
          <a:xfrm>
            <a:off x="1029231" y="5355391"/>
            <a:ext cx="725699" cy="725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867"/>
          </a:p>
        </p:txBody>
      </p:sp>
      <p:sp>
        <p:nvSpPr>
          <p:cNvPr id="54" name="Rectangle 53">
            <a:extLst>
              <a:ext uri="{FF2B5EF4-FFF2-40B4-BE49-F238E27FC236}">
                <a16:creationId xmlns:a16="http://schemas.microsoft.com/office/drawing/2014/main" id="{CBB0475F-9156-4F9D-84A0-82A80AB333C0}"/>
              </a:ext>
            </a:extLst>
          </p:cNvPr>
          <p:cNvSpPr/>
          <p:nvPr/>
        </p:nvSpPr>
        <p:spPr>
          <a:xfrm>
            <a:off x="6096000" y="1402680"/>
            <a:ext cx="45719" cy="282836"/>
          </a:xfrm>
          <a:prstGeom prst="rect">
            <a:avLst/>
          </a:prstGeom>
          <a:solidFill>
            <a:srgbClr val="21479B"/>
          </a:solidFill>
          <a:ln w="9525" cap="flat" cmpd="sng" algn="ctr">
            <a:noFill/>
            <a:prstDash val="solid"/>
          </a:ln>
          <a:effectLst/>
        </p:spPr>
        <p:txBody>
          <a:bodyPr tIns="120000" bIns="120000"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609585" eaLnBrk="1" fontAlgn="auto" latinLnBrk="0" hangingPunct="1">
              <a:lnSpc>
                <a:spcPct val="100000"/>
              </a:lnSpc>
              <a:spcBef>
                <a:spcPts val="800"/>
              </a:spcBef>
              <a:spcAft>
                <a:spcPts val="0"/>
              </a:spcAft>
              <a:buClrTx/>
              <a:buSzTx/>
              <a:buFontTx/>
              <a:buNone/>
              <a:tabLst/>
              <a:defRPr sz="1800" b="0" i="0" u="none" strike="noStrike" kern="0" cap="none" spc="0" baseline="0">
                <a:solidFill>
                  <a:srgbClr val="000000"/>
                </a:solidFill>
                <a:uFillTx/>
              </a:defRPr>
            </a:pPr>
            <a:endParaRPr kumimoji="0" lang="en-PH" sz="1867" b="0" i="0" u="none" strike="noStrike" kern="0" cap="none" spc="0" normalizeH="0" baseline="0" noProof="0">
              <a:ln>
                <a:noFill/>
              </a:ln>
              <a:effectLst/>
              <a:uLnTx/>
              <a:uFillTx/>
              <a:ea typeface="+mn-ea"/>
              <a:cs typeface="Arial" pitchFamily="34"/>
            </a:endParaRPr>
          </a:p>
        </p:txBody>
      </p:sp>
      <p:sp>
        <p:nvSpPr>
          <p:cNvPr id="6" name="AutoShape 6" descr="Untitled">
            <a:extLst>
              <a:ext uri="{FF2B5EF4-FFF2-40B4-BE49-F238E27FC236}">
                <a16:creationId xmlns:a16="http://schemas.microsoft.com/office/drawing/2014/main" id="{37A0B76A-B6F6-5B01-9D56-48CC7193900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
        <p:nvSpPr>
          <p:cNvPr id="9" name="TextBox 8">
            <a:extLst>
              <a:ext uri="{FF2B5EF4-FFF2-40B4-BE49-F238E27FC236}">
                <a16:creationId xmlns:a16="http://schemas.microsoft.com/office/drawing/2014/main" id="{6D62F71D-AE6C-D37A-ADED-1548074FEDE3}"/>
              </a:ext>
            </a:extLst>
          </p:cNvPr>
          <p:cNvSpPr txBox="1"/>
          <p:nvPr/>
        </p:nvSpPr>
        <p:spPr>
          <a:xfrm>
            <a:off x="711533" y="1861067"/>
            <a:ext cx="5384467" cy="1263134"/>
          </a:xfrm>
          <a:prstGeom prst="rect">
            <a:avLst/>
          </a:prstGeom>
          <a:noFill/>
          <a:ln>
            <a:solidFill>
              <a:schemeClr val="bg1"/>
            </a:solidFill>
          </a:ln>
        </p:spPr>
        <p:txBody>
          <a:bodyPr wrap="square" lIns="0" tIns="0" rIns="0" bIns="0" rtlCol="0" anchor="t">
            <a:noAutofit/>
          </a:bodyPr>
          <a:lstStyle/>
          <a:p>
            <a:pPr marL="285750" indent="-285750">
              <a:buFont typeface="Arial" panose="020B0604020202020204" pitchFamily="34" charset="0"/>
              <a:buChar char="•"/>
            </a:pPr>
            <a:r>
              <a:rPr lang="en-US"/>
              <a:t>The idea of </a:t>
            </a:r>
            <a:r>
              <a:rPr lang="en-US" b="1"/>
              <a:t>Design patterns</a:t>
            </a:r>
            <a:r>
              <a:rPr lang="en-US"/>
              <a:t> is solutions to problems. So, you either can use them whenever you </a:t>
            </a:r>
            <a:r>
              <a:rPr lang="en-US" b="1"/>
              <a:t>meet</a:t>
            </a:r>
            <a:r>
              <a:rPr lang="en-US"/>
              <a:t> a problem or just practice the solution to </a:t>
            </a:r>
            <a:r>
              <a:rPr lang="en-US" b="1"/>
              <a:t>prepare</a:t>
            </a:r>
            <a:r>
              <a:rPr lang="en-US"/>
              <a:t> for the problem.</a:t>
            </a:r>
          </a:p>
        </p:txBody>
      </p:sp>
      <p:sp>
        <p:nvSpPr>
          <p:cNvPr id="2" name="TextBox 1">
            <a:extLst>
              <a:ext uri="{FF2B5EF4-FFF2-40B4-BE49-F238E27FC236}">
                <a16:creationId xmlns:a16="http://schemas.microsoft.com/office/drawing/2014/main" id="{E5F78F81-0756-E77E-AC5A-888FC4172826}"/>
              </a:ext>
            </a:extLst>
          </p:cNvPr>
          <p:cNvSpPr txBox="1"/>
          <p:nvPr/>
        </p:nvSpPr>
        <p:spPr>
          <a:xfrm>
            <a:off x="715025" y="3824287"/>
            <a:ext cx="5384467" cy="1095374"/>
          </a:xfrm>
          <a:prstGeom prst="rect">
            <a:avLst/>
          </a:prstGeom>
          <a:noFill/>
          <a:ln>
            <a:solidFill>
              <a:schemeClr val="bg1"/>
            </a:solidFill>
          </a:ln>
        </p:spPr>
        <p:txBody>
          <a:bodyPr wrap="square" lIns="0" tIns="0" rIns="0" bIns="0" rtlCol="0" anchor="t">
            <a:noAutofit/>
          </a:bodyPr>
          <a:lstStyle/>
          <a:p>
            <a:pPr marL="285750" indent="-285750">
              <a:buFont typeface="Arial" panose="020B0604020202020204" pitchFamily="34" charset="0"/>
              <a:buChar char="•"/>
            </a:pPr>
            <a:r>
              <a:rPr lang="en-US"/>
              <a:t>Where to find: </a:t>
            </a:r>
          </a:p>
          <a:p>
            <a:pPr marL="742950" lvl="1" indent="-285750">
              <a:buFont typeface="Arial" panose="020B0604020202020204" pitchFamily="34" charset="0"/>
              <a:buChar char="•"/>
            </a:pPr>
            <a:r>
              <a:rPr lang="en-US" u="sng"/>
              <a:t>https://refactoring.guru/</a:t>
            </a:r>
            <a:r>
              <a:rPr lang="en-US"/>
              <a:t> (⭐)</a:t>
            </a:r>
          </a:p>
          <a:p>
            <a:pPr marL="742950" lvl="1" indent="-285750">
              <a:buFont typeface="Arial" panose="020B0604020202020204" pitchFamily="34" charset="0"/>
              <a:buChar char="•"/>
            </a:pPr>
            <a:r>
              <a:rPr lang="en-US" u="sng"/>
              <a:t>https://sourcemaking.com/</a:t>
            </a:r>
          </a:p>
          <a:p>
            <a:pPr marL="742950" lvl="1" indent="-285750">
              <a:buFont typeface="Arial" panose="020B0604020202020204" pitchFamily="34" charset="0"/>
              <a:buChar char="•"/>
            </a:pPr>
            <a:r>
              <a:rPr lang="en-US"/>
              <a:t>Books</a:t>
            </a:r>
          </a:p>
        </p:txBody>
      </p:sp>
      <p:sp>
        <p:nvSpPr>
          <p:cNvPr id="4" name="TextBox 3">
            <a:extLst>
              <a:ext uri="{FF2B5EF4-FFF2-40B4-BE49-F238E27FC236}">
                <a16:creationId xmlns:a16="http://schemas.microsoft.com/office/drawing/2014/main" id="{281AD869-BCD6-6EA2-E704-A0F84C5F89DE}"/>
              </a:ext>
            </a:extLst>
          </p:cNvPr>
          <p:cNvSpPr txBox="1"/>
          <p:nvPr/>
        </p:nvSpPr>
        <p:spPr>
          <a:xfrm>
            <a:off x="715025" y="3124201"/>
            <a:ext cx="5377485" cy="533399"/>
          </a:xfrm>
          <a:prstGeom prst="rect">
            <a:avLst/>
          </a:prstGeom>
          <a:noFill/>
          <a:ln>
            <a:solidFill>
              <a:schemeClr val="bg1"/>
            </a:solidFill>
          </a:ln>
        </p:spPr>
        <p:txBody>
          <a:bodyPr wrap="square" lIns="0" tIns="0" rIns="0" bIns="0" rtlCol="0" anchor="t">
            <a:noAutofit/>
          </a:bodyPr>
          <a:lstStyle/>
          <a:p>
            <a:pPr marL="285750" indent="-285750">
              <a:buFont typeface="Arial" panose="020B0604020202020204" pitchFamily="34" charset="0"/>
              <a:buChar char="•"/>
            </a:pPr>
            <a:r>
              <a:rPr lang="en-US"/>
              <a:t>How to apply: apply it when you refactor your code.</a:t>
            </a:r>
          </a:p>
        </p:txBody>
      </p:sp>
      <p:pic>
        <p:nvPicPr>
          <p:cNvPr id="11" name="Picture 10">
            <a:extLst>
              <a:ext uri="{FF2B5EF4-FFF2-40B4-BE49-F238E27FC236}">
                <a16:creationId xmlns:a16="http://schemas.microsoft.com/office/drawing/2014/main" id="{F16DA9AF-17A2-ED9C-D0C7-7B5CBFEAC419}"/>
              </a:ext>
            </a:extLst>
          </p:cNvPr>
          <p:cNvPicPr>
            <a:picLocks noChangeAspect="1"/>
          </p:cNvPicPr>
          <p:nvPr/>
        </p:nvPicPr>
        <p:blipFill>
          <a:blip r:embed="rId7"/>
          <a:stretch>
            <a:fillRect/>
          </a:stretch>
        </p:blipFill>
        <p:spPr>
          <a:xfrm>
            <a:off x="6248400" y="371475"/>
            <a:ext cx="5267562" cy="5810250"/>
          </a:xfrm>
          <a:prstGeom prst="rect">
            <a:avLst/>
          </a:prstGeom>
        </p:spPr>
      </p:pic>
      <p:pic>
        <p:nvPicPr>
          <p:cNvPr id="13" name="Picture 12">
            <a:extLst>
              <a:ext uri="{FF2B5EF4-FFF2-40B4-BE49-F238E27FC236}">
                <a16:creationId xmlns:a16="http://schemas.microsoft.com/office/drawing/2014/main" id="{7D2597CC-2730-7FA0-664A-8BAF05E9FC6D}"/>
              </a:ext>
            </a:extLst>
          </p:cNvPr>
          <p:cNvPicPr>
            <a:picLocks noChangeAspect="1"/>
          </p:cNvPicPr>
          <p:nvPr/>
        </p:nvPicPr>
        <p:blipFill>
          <a:blip r:embed="rId8"/>
          <a:stretch>
            <a:fillRect/>
          </a:stretch>
        </p:blipFill>
        <p:spPr>
          <a:xfrm>
            <a:off x="6261404" y="718658"/>
            <a:ext cx="5222553" cy="5115884"/>
          </a:xfrm>
          <a:prstGeom prst="rect">
            <a:avLst/>
          </a:prstGeom>
        </p:spPr>
      </p:pic>
      <p:pic>
        <p:nvPicPr>
          <p:cNvPr id="15" name="Picture 14">
            <a:extLst>
              <a:ext uri="{FF2B5EF4-FFF2-40B4-BE49-F238E27FC236}">
                <a16:creationId xmlns:a16="http://schemas.microsoft.com/office/drawing/2014/main" id="{441AB39D-539A-A2A8-5C20-6071BB6EC5C1}"/>
              </a:ext>
            </a:extLst>
          </p:cNvPr>
          <p:cNvPicPr>
            <a:picLocks noChangeAspect="1"/>
          </p:cNvPicPr>
          <p:nvPr/>
        </p:nvPicPr>
        <p:blipFill>
          <a:blip r:embed="rId9"/>
          <a:stretch>
            <a:fillRect/>
          </a:stretch>
        </p:blipFill>
        <p:spPr>
          <a:xfrm>
            <a:off x="8224837" y="304800"/>
            <a:ext cx="2066925" cy="6248400"/>
          </a:xfrm>
          <a:prstGeom prst="rect">
            <a:avLst/>
          </a:prstGeom>
        </p:spPr>
      </p:pic>
      <p:sp>
        <p:nvSpPr>
          <p:cNvPr id="18" name="TextBox 17">
            <a:extLst>
              <a:ext uri="{FF2B5EF4-FFF2-40B4-BE49-F238E27FC236}">
                <a16:creationId xmlns:a16="http://schemas.microsoft.com/office/drawing/2014/main" id="{6AF2B246-43FA-6F99-CEF2-23106C02D1B1}"/>
              </a:ext>
            </a:extLst>
          </p:cNvPr>
          <p:cNvSpPr txBox="1"/>
          <p:nvPr/>
        </p:nvSpPr>
        <p:spPr>
          <a:xfrm>
            <a:off x="7455878" y="5330167"/>
            <a:ext cx="1181100" cy="1156358"/>
          </a:xfrm>
          <a:prstGeom prst="rect">
            <a:avLst/>
          </a:prstGeom>
          <a:noFill/>
        </p:spPr>
        <p:txBody>
          <a:bodyPr wrap="none" lIns="0" tIns="0" rIns="0" bIns="0" rtlCol="0">
            <a:noAutofit/>
          </a:bodyPr>
          <a:lstStyle/>
          <a:p>
            <a:pPr algn="l"/>
            <a:r>
              <a:rPr lang="en-US" sz="6000"/>
              <a:t>👉</a:t>
            </a:r>
          </a:p>
          <a:p>
            <a:pPr algn="ctr"/>
            <a:r>
              <a:rPr lang="en-US" sz="1600"/>
              <a:t>put it here</a:t>
            </a:r>
            <a:endParaRPr lang="vi-VN" sz="1600" err="1"/>
          </a:p>
        </p:txBody>
      </p:sp>
      <p:pic>
        <p:nvPicPr>
          <p:cNvPr id="23" name="Picture 22" descr="A picture containing text, book, stationary&#10;&#10;Description automatically generated">
            <a:extLst>
              <a:ext uri="{FF2B5EF4-FFF2-40B4-BE49-F238E27FC236}">
                <a16:creationId xmlns:a16="http://schemas.microsoft.com/office/drawing/2014/main" id="{C07318FF-E26F-ADB5-FB64-72D8AB26337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48399" y="352426"/>
            <a:ext cx="2964248" cy="3844999"/>
          </a:xfrm>
          <a:prstGeom prst="rect">
            <a:avLst/>
          </a:prstGeom>
        </p:spPr>
      </p:pic>
      <p:pic>
        <p:nvPicPr>
          <p:cNvPr id="25" name="Picture 24" descr="A picture containing text, graphic design, book, graphics&#10;&#10;Description automatically generated">
            <a:extLst>
              <a:ext uri="{FF2B5EF4-FFF2-40B4-BE49-F238E27FC236}">
                <a16:creationId xmlns:a16="http://schemas.microsoft.com/office/drawing/2014/main" id="{4F3862DA-557E-BFDF-46E5-6ACCAC007B3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43344" y="1803918"/>
            <a:ext cx="3019425" cy="4524375"/>
          </a:xfrm>
          <a:prstGeom prst="rect">
            <a:avLst/>
          </a:prstGeom>
        </p:spPr>
      </p:pic>
    </p:spTree>
    <p:custDataLst>
      <p:tags r:id="rId1"/>
    </p:custDataLst>
    <p:extLst>
      <p:ext uri="{BB962C8B-B14F-4D97-AF65-F5344CB8AC3E}">
        <p14:creationId xmlns:p14="http://schemas.microsoft.com/office/powerpoint/2010/main" val="3667618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5"/>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8"/>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11"/>
                                        </p:tgtEl>
                                        <p:attrNameLst>
                                          <p:attrName>style.visibility</p:attrName>
                                        </p:attrNameLst>
                                      </p:cBhvr>
                                      <p:to>
                                        <p:strVal val="hidden"/>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1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13"/>
                                        </p:tgtEl>
                                        <p:attrNameLst>
                                          <p:attrName>style.visibility</p:attrName>
                                        </p:attrNameLst>
                                      </p:cBhvr>
                                      <p:to>
                                        <p:strVal val="hidden"/>
                                      </p:to>
                                    </p:set>
                                  </p:childTnLst>
                                </p:cTn>
                              </p:par>
                            </p:childTnLst>
                          </p:cTn>
                        </p:par>
                        <p:par>
                          <p:cTn id="44" fill="hold">
                            <p:stCondLst>
                              <p:cond delay="0"/>
                            </p:stCondLst>
                            <p:childTnLst>
                              <p:par>
                                <p:cTn id="45" presetID="1" presetClass="entr" presetSubtype="0" fill="hold" nodeType="after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23"/>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animBg="1"/>
      <p:bldP spid="4" grpId="0" animBg="1"/>
      <p:bldP spid="18" grpId="0"/>
      <p:bldP spid="18" grpId="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602B82-5842-4C09-9CE0-FE65AF0814C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602B82-5842-4C09-9CE0-FE65AF0814C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57649-04B0-4766-9290-E5B6D0EB61FD}"/>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a:t>Agenda</a:t>
            </a:r>
          </a:p>
        </p:txBody>
      </p:sp>
      <p:sp>
        <p:nvSpPr>
          <p:cNvPr id="8" name="Pentagon 23">
            <a:extLst>
              <a:ext uri="{FF2B5EF4-FFF2-40B4-BE49-F238E27FC236}">
                <a16:creationId xmlns:a16="http://schemas.microsoft.com/office/drawing/2014/main" id="{598E6103-3DFF-4B87-B5C7-300316CB1814}"/>
              </a:ext>
            </a:extLst>
          </p:cNvPr>
          <p:cNvSpPr/>
          <p:nvPr/>
        </p:nvSpPr>
        <p:spPr>
          <a:xfrm>
            <a:off x="1145628" y="14003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Introduction</a:t>
            </a:r>
          </a:p>
        </p:txBody>
      </p:sp>
      <p:sp>
        <p:nvSpPr>
          <p:cNvPr id="13" name="Oval 12">
            <a:extLst>
              <a:ext uri="{FF2B5EF4-FFF2-40B4-BE49-F238E27FC236}">
                <a16:creationId xmlns:a16="http://schemas.microsoft.com/office/drawing/2014/main" id="{9D57BE4A-5B6A-4752-A75D-1142E779029A}"/>
              </a:ext>
            </a:extLst>
          </p:cNvPr>
          <p:cNvSpPr/>
          <p:nvPr/>
        </p:nvSpPr>
        <p:spPr>
          <a:xfrm>
            <a:off x="839218" y="14049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24" name="Graphic 22">
            <a:extLst>
              <a:ext uri="{FF2B5EF4-FFF2-40B4-BE49-F238E27FC236}">
                <a16:creationId xmlns:a16="http://schemas.microsoft.com/office/drawing/2014/main" id="{2454E598-343F-41EB-AE9A-F24DF23669D2}"/>
              </a:ext>
            </a:extLst>
          </p:cNvPr>
          <p:cNvSpPr/>
          <p:nvPr/>
        </p:nvSpPr>
        <p:spPr>
          <a:xfrm>
            <a:off x="990718" y="1556438"/>
            <a:ext cx="320570" cy="320550"/>
          </a:xfrm>
          <a:custGeom>
            <a:avLst/>
            <a:gdLst>
              <a:gd name="connsiteX0" fmla="*/ 95278 w 438177"/>
              <a:gd name="connsiteY0" fmla="*/ 0 h 438150"/>
              <a:gd name="connsiteX1" fmla="*/ 47653 w 438177"/>
              <a:gd name="connsiteY1" fmla="*/ 47625 h 438150"/>
              <a:gd name="connsiteX2" fmla="*/ 95278 w 438177"/>
              <a:gd name="connsiteY2" fmla="*/ 95250 h 438150"/>
              <a:gd name="connsiteX3" fmla="*/ 142903 w 438177"/>
              <a:gd name="connsiteY3" fmla="*/ 47625 h 438150"/>
              <a:gd name="connsiteX4" fmla="*/ 95278 w 438177"/>
              <a:gd name="connsiteY4" fmla="*/ 0 h 438150"/>
              <a:gd name="connsiteX5" fmla="*/ 257203 w 438177"/>
              <a:gd name="connsiteY5" fmla="*/ 0 h 438150"/>
              <a:gd name="connsiteX6" fmla="*/ 257203 w 438177"/>
              <a:gd name="connsiteY6" fmla="*/ 19050 h 438150"/>
              <a:gd name="connsiteX7" fmla="*/ 161953 w 438177"/>
              <a:gd name="connsiteY7" fmla="*/ 19050 h 438150"/>
              <a:gd name="connsiteX8" fmla="*/ 161953 w 438177"/>
              <a:gd name="connsiteY8" fmla="*/ 38100 h 438150"/>
              <a:gd name="connsiteX9" fmla="*/ 419128 w 438177"/>
              <a:gd name="connsiteY9" fmla="*/ 38100 h 438150"/>
              <a:gd name="connsiteX10" fmla="*/ 419128 w 438177"/>
              <a:gd name="connsiteY10" fmla="*/ 285750 h 438150"/>
              <a:gd name="connsiteX11" fmla="*/ 171478 w 438177"/>
              <a:gd name="connsiteY11" fmla="*/ 285750 h 438150"/>
              <a:gd name="connsiteX12" fmla="*/ 171478 w 438177"/>
              <a:gd name="connsiteY12" fmla="*/ 304800 h 438150"/>
              <a:gd name="connsiteX13" fmla="*/ 252440 w 438177"/>
              <a:gd name="connsiteY13" fmla="*/ 304800 h 438150"/>
              <a:gd name="connsiteX14" fmla="*/ 200053 w 438177"/>
              <a:gd name="connsiteY14" fmla="*/ 409575 h 438150"/>
              <a:gd name="connsiteX15" fmla="*/ 219103 w 438177"/>
              <a:gd name="connsiteY15" fmla="*/ 409575 h 438150"/>
              <a:gd name="connsiteX16" fmla="*/ 266728 w 438177"/>
              <a:gd name="connsiteY16" fmla="*/ 314325 h 438150"/>
              <a:gd name="connsiteX17" fmla="*/ 314353 w 438177"/>
              <a:gd name="connsiteY17" fmla="*/ 409575 h 438150"/>
              <a:gd name="connsiteX18" fmla="*/ 333403 w 438177"/>
              <a:gd name="connsiteY18" fmla="*/ 409575 h 438150"/>
              <a:gd name="connsiteX19" fmla="*/ 281015 w 438177"/>
              <a:gd name="connsiteY19" fmla="*/ 304800 h 438150"/>
              <a:gd name="connsiteX20" fmla="*/ 428653 w 438177"/>
              <a:gd name="connsiteY20" fmla="*/ 304800 h 438150"/>
              <a:gd name="connsiteX21" fmla="*/ 438178 w 438177"/>
              <a:gd name="connsiteY21" fmla="*/ 295275 h 438150"/>
              <a:gd name="connsiteX22" fmla="*/ 438178 w 438177"/>
              <a:gd name="connsiteY22" fmla="*/ 28575 h 438150"/>
              <a:gd name="connsiteX23" fmla="*/ 428653 w 438177"/>
              <a:gd name="connsiteY23" fmla="*/ 19050 h 438150"/>
              <a:gd name="connsiteX24" fmla="*/ 276253 w 438177"/>
              <a:gd name="connsiteY24" fmla="*/ 19050 h 438150"/>
              <a:gd name="connsiteX25" fmla="*/ 276253 w 438177"/>
              <a:gd name="connsiteY25" fmla="*/ 0 h 438150"/>
              <a:gd name="connsiteX26" fmla="*/ 95278 w 438177"/>
              <a:gd name="connsiteY26" fmla="*/ 19050 h 438150"/>
              <a:gd name="connsiteX27" fmla="*/ 123853 w 438177"/>
              <a:gd name="connsiteY27" fmla="*/ 47625 h 438150"/>
              <a:gd name="connsiteX28" fmla="*/ 95278 w 438177"/>
              <a:gd name="connsiteY28" fmla="*/ 76200 h 438150"/>
              <a:gd name="connsiteX29" fmla="*/ 66703 w 438177"/>
              <a:gd name="connsiteY29" fmla="*/ 47625 h 438150"/>
              <a:gd name="connsiteX30" fmla="*/ 95278 w 438177"/>
              <a:gd name="connsiteY30" fmla="*/ 19050 h 438150"/>
              <a:gd name="connsiteX31" fmla="*/ 52415 w 438177"/>
              <a:gd name="connsiteY31" fmla="*/ 104775 h 438150"/>
              <a:gd name="connsiteX32" fmla="*/ 28 w 438177"/>
              <a:gd name="connsiteY32" fmla="*/ 157163 h 438150"/>
              <a:gd name="connsiteX33" fmla="*/ 28 w 438177"/>
              <a:gd name="connsiteY33" fmla="*/ 274439 h 438150"/>
              <a:gd name="connsiteX34" fmla="*/ 28 w 438177"/>
              <a:gd name="connsiteY34" fmla="*/ 275630 h 438150"/>
              <a:gd name="connsiteX35" fmla="*/ 28 w 438177"/>
              <a:gd name="connsiteY35" fmla="*/ 276225 h 438150"/>
              <a:gd name="connsiteX36" fmla="*/ 326 w 438177"/>
              <a:gd name="connsiteY36" fmla="*/ 278904 h 438150"/>
              <a:gd name="connsiteX37" fmla="*/ 28603 w 438177"/>
              <a:gd name="connsiteY37" fmla="*/ 304800 h 438150"/>
              <a:gd name="connsiteX38" fmla="*/ 38128 w 438177"/>
              <a:gd name="connsiteY38" fmla="*/ 303014 h 438150"/>
              <a:gd name="connsiteX39" fmla="*/ 38128 w 438177"/>
              <a:gd name="connsiteY39" fmla="*/ 404813 h 438150"/>
              <a:gd name="connsiteX40" fmla="*/ 71465 w 438177"/>
              <a:gd name="connsiteY40" fmla="*/ 438150 h 438150"/>
              <a:gd name="connsiteX41" fmla="*/ 95278 w 438177"/>
              <a:gd name="connsiteY41" fmla="*/ 428030 h 438150"/>
              <a:gd name="connsiteX42" fmla="*/ 119090 w 438177"/>
              <a:gd name="connsiteY42" fmla="*/ 438150 h 438150"/>
              <a:gd name="connsiteX43" fmla="*/ 152428 w 438177"/>
              <a:gd name="connsiteY43" fmla="*/ 404813 h 438150"/>
              <a:gd name="connsiteX44" fmla="*/ 152428 w 438177"/>
              <a:gd name="connsiteY44" fmla="*/ 161925 h 438150"/>
              <a:gd name="connsiteX45" fmla="*/ 257203 w 438177"/>
              <a:gd name="connsiteY45" fmla="*/ 161925 h 438150"/>
              <a:gd name="connsiteX46" fmla="*/ 285778 w 438177"/>
              <a:gd name="connsiteY46" fmla="*/ 133350 h 438150"/>
              <a:gd name="connsiteX47" fmla="*/ 257798 w 438177"/>
              <a:gd name="connsiteY47" fmla="*/ 104775 h 438150"/>
              <a:gd name="connsiteX48" fmla="*/ 257203 w 438177"/>
              <a:gd name="connsiteY48" fmla="*/ 104775 h 438150"/>
              <a:gd name="connsiteX49" fmla="*/ 123853 w 438177"/>
              <a:gd name="connsiteY49" fmla="*/ 104775 h 438150"/>
              <a:gd name="connsiteX50" fmla="*/ 115221 w 438177"/>
              <a:gd name="connsiteY50" fmla="*/ 110133 h 438150"/>
              <a:gd name="connsiteX51" fmla="*/ 95278 w 438177"/>
              <a:gd name="connsiteY51" fmla="*/ 150019 h 438150"/>
              <a:gd name="connsiteX52" fmla="*/ 75335 w 438177"/>
              <a:gd name="connsiteY52" fmla="*/ 110133 h 438150"/>
              <a:gd name="connsiteX53" fmla="*/ 66703 w 438177"/>
              <a:gd name="connsiteY53" fmla="*/ 104775 h 438150"/>
              <a:gd name="connsiteX54" fmla="*/ 52415 w 438177"/>
              <a:gd name="connsiteY54" fmla="*/ 123825 h 438150"/>
              <a:gd name="connsiteX55" fmla="*/ 60750 w 438177"/>
              <a:gd name="connsiteY55" fmla="*/ 123825 h 438150"/>
              <a:gd name="connsiteX56" fmla="*/ 86646 w 438177"/>
              <a:gd name="connsiteY56" fmla="*/ 175617 h 438150"/>
              <a:gd name="connsiteX57" fmla="*/ 95278 w 438177"/>
              <a:gd name="connsiteY57" fmla="*/ 181124 h 438150"/>
              <a:gd name="connsiteX58" fmla="*/ 103910 w 438177"/>
              <a:gd name="connsiteY58" fmla="*/ 175617 h 438150"/>
              <a:gd name="connsiteX59" fmla="*/ 129806 w 438177"/>
              <a:gd name="connsiteY59" fmla="*/ 123825 h 438150"/>
              <a:gd name="connsiteX60" fmla="*/ 257203 w 438177"/>
              <a:gd name="connsiteY60" fmla="*/ 123825 h 438150"/>
              <a:gd name="connsiteX61" fmla="*/ 258096 w 438177"/>
              <a:gd name="connsiteY61" fmla="*/ 123825 h 438150"/>
              <a:gd name="connsiteX62" fmla="*/ 266728 w 438177"/>
              <a:gd name="connsiteY62" fmla="*/ 133350 h 438150"/>
              <a:gd name="connsiteX63" fmla="*/ 257203 w 438177"/>
              <a:gd name="connsiteY63" fmla="*/ 142875 h 438150"/>
              <a:gd name="connsiteX64" fmla="*/ 142903 w 438177"/>
              <a:gd name="connsiteY64" fmla="*/ 142875 h 438150"/>
              <a:gd name="connsiteX65" fmla="*/ 133378 w 438177"/>
              <a:gd name="connsiteY65" fmla="*/ 152400 h 438150"/>
              <a:gd name="connsiteX66" fmla="*/ 133378 w 438177"/>
              <a:gd name="connsiteY66" fmla="*/ 404813 h 438150"/>
              <a:gd name="connsiteX67" fmla="*/ 119090 w 438177"/>
              <a:gd name="connsiteY67" fmla="*/ 419100 h 438150"/>
              <a:gd name="connsiteX68" fmla="*/ 104803 w 438177"/>
              <a:gd name="connsiteY68" fmla="*/ 406301 h 438150"/>
              <a:gd name="connsiteX69" fmla="*/ 104803 w 438177"/>
              <a:gd name="connsiteY69" fmla="*/ 403920 h 438150"/>
              <a:gd name="connsiteX70" fmla="*/ 104803 w 438177"/>
              <a:gd name="connsiteY70" fmla="*/ 403027 h 438150"/>
              <a:gd name="connsiteX71" fmla="*/ 104803 w 438177"/>
              <a:gd name="connsiteY71" fmla="*/ 304800 h 438150"/>
              <a:gd name="connsiteX72" fmla="*/ 101826 w 438177"/>
              <a:gd name="connsiteY72" fmla="*/ 297545 h 438150"/>
              <a:gd name="connsiteX73" fmla="*/ 94385 w 438177"/>
              <a:gd name="connsiteY73" fmla="*/ 294977 h 438150"/>
              <a:gd name="connsiteX74" fmla="*/ 93194 w 438177"/>
              <a:gd name="connsiteY74" fmla="*/ 295275 h 438150"/>
              <a:gd name="connsiteX75" fmla="*/ 85753 w 438177"/>
              <a:gd name="connsiteY75" fmla="*/ 304800 h 438150"/>
              <a:gd name="connsiteX76" fmla="*/ 85753 w 438177"/>
              <a:gd name="connsiteY76" fmla="*/ 403027 h 438150"/>
              <a:gd name="connsiteX77" fmla="*/ 85753 w 438177"/>
              <a:gd name="connsiteY77" fmla="*/ 404217 h 438150"/>
              <a:gd name="connsiteX78" fmla="*/ 85753 w 438177"/>
              <a:gd name="connsiteY78" fmla="*/ 406301 h 438150"/>
              <a:gd name="connsiteX79" fmla="*/ 71465 w 438177"/>
              <a:gd name="connsiteY79" fmla="*/ 419100 h 438150"/>
              <a:gd name="connsiteX80" fmla="*/ 57178 w 438177"/>
              <a:gd name="connsiteY80" fmla="*/ 404813 h 438150"/>
              <a:gd name="connsiteX81" fmla="*/ 57178 w 438177"/>
              <a:gd name="connsiteY81" fmla="*/ 180975 h 438150"/>
              <a:gd name="connsiteX82" fmla="*/ 53680 w 438177"/>
              <a:gd name="connsiteY82" fmla="*/ 173385 h 438150"/>
              <a:gd name="connsiteX83" fmla="*/ 45569 w 438177"/>
              <a:gd name="connsiteY83" fmla="*/ 171450 h 438150"/>
              <a:gd name="connsiteX84" fmla="*/ 38128 w 438177"/>
              <a:gd name="connsiteY84" fmla="*/ 180975 h 438150"/>
              <a:gd name="connsiteX85" fmla="*/ 38128 w 438177"/>
              <a:gd name="connsiteY85" fmla="*/ 274737 h 438150"/>
              <a:gd name="connsiteX86" fmla="*/ 38128 w 438177"/>
              <a:gd name="connsiteY86" fmla="*/ 275630 h 438150"/>
              <a:gd name="connsiteX87" fmla="*/ 38128 w 438177"/>
              <a:gd name="connsiteY87" fmla="*/ 276225 h 438150"/>
              <a:gd name="connsiteX88" fmla="*/ 28603 w 438177"/>
              <a:gd name="connsiteY88" fmla="*/ 285750 h 438150"/>
              <a:gd name="connsiteX89" fmla="*/ 19078 w 438177"/>
              <a:gd name="connsiteY89" fmla="*/ 276820 h 438150"/>
              <a:gd name="connsiteX90" fmla="*/ 19078 w 438177"/>
              <a:gd name="connsiteY90" fmla="*/ 276225 h 438150"/>
              <a:gd name="connsiteX91" fmla="*/ 19078 w 438177"/>
              <a:gd name="connsiteY91" fmla="*/ 274439 h 438150"/>
              <a:gd name="connsiteX92" fmla="*/ 19078 w 438177"/>
              <a:gd name="connsiteY92" fmla="*/ 157163 h 438150"/>
              <a:gd name="connsiteX93" fmla="*/ 52415 w 438177"/>
              <a:gd name="connsiteY93" fmla="*/ 1238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8177" h="438150">
                <a:moveTo>
                  <a:pt x="95278" y="0"/>
                </a:moveTo>
                <a:cubicBezTo>
                  <a:pt x="69084" y="0"/>
                  <a:pt x="47653" y="21431"/>
                  <a:pt x="47653" y="47625"/>
                </a:cubicBezTo>
                <a:cubicBezTo>
                  <a:pt x="47653" y="73819"/>
                  <a:pt x="69084" y="95250"/>
                  <a:pt x="95278" y="95250"/>
                </a:cubicBezTo>
                <a:cubicBezTo>
                  <a:pt x="121472" y="95250"/>
                  <a:pt x="142903" y="73819"/>
                  <a:pt x="142903" y="47625"/>
                </a:cubicBezTo>
                <a:cubicBezTo>
                  <a:pt x="142903" y="21431"/>
                  <a:pt x="121472" y="0"/>
                  <a:pt x="95278" y="0"/>
                </a:cubicBezTo>
                <a:close/>
                <a:moveTo>
                  <a:pt x="257203" y="0"/>
                </a:moveTo>
                <a:lnTo>
                  <a:pt x="257203" y="19050"/>
                </a:lnTo>
                <a:lnTo>
                  <a:pt x="161953" y="19050"/>
                </a:lnTo>
                <a:lnTo>
                  <a:pt x="161953" y="38100"/>
                </a:lnTo>
                <a:lnTo>
                  <a:pt x="419128" y="38100"/>
                </a:lnTo>
                <a:lnTo>
                  <a:pt x="419128" y="285750"/>
                </a:lnTo>
                <a:lnTo>
                  <a:pt x="171478" y="285750"/>
                </a:lnTo>
                <a:lnTo>
                  <a:pt x="171478" y="304800"/>
                </a:lnTo>
                <a:lnTo>
                  <a:pt x="252440" y="304800"/>
                </a:lnTo>
                <a:lnTo>
                  <a:pt x="200053" y="409575"/>
                </a:lnTo>
                <a:lnTo>
                  <a:pt x="219103" y="409575"/>
                </a:lnTo>
                <a:lnTo>
                  <a:pt x="266728" y="314325"/>
                </a:lnTo>
                <a:lnTo>
                  <a:pt x="314353" y="409575"/>
                </a:lnTo>
                <a:lnTo>
                  <a:pt x="333403" y="409575"/>
                </a:lnTo>
                <a:lnTo>
                  <a:pt x="281015" y="304800"/>
                </a:lnTo>
                <a:lnTo>
                  <a:pt x="428653" y="304800"/>
                </a:lnTo>
                <a:cubicBezTo>
                  <a:pt x="433899" y="304800"/>
                  <a:pt x="438178" y="300521"/>
                  <a:pt x="438178" y="295275"/>
                </a:cubicBezTo>
                <a:lnTo>
                  <a:pt x="438178" y="28575"/>
                </a:lnTo>
                <a:cubicBezTo>
                  <a:pt x="438178" y="23329"/>
                  <a:pt x="433899" y="19050"/>
                  <a:pt x="428653" y="19050"/>
                </a:cubicBezTo>
                <a:lnTo>
                  <a:pt x="276253" y="19050"/>
                </a:lnTo>
                <a:lnTo>
                  <a:pt x="276253" y="0"/>
                </a:lnTo>
                <a:close/>
                <a:moveTo>
                  <a:pt x="95278" y="19050"/>
                </a:moveTo>
                <a:cubicBezTo>
                  <a:pt x="111165" y="19050"/>
                  <a:pt x="123853" y="31738"/>
                  <a:pt x="123853" y="47625"/>
                </a:cubicBezTo>
                <a:cubicBezTo>
                  <a:pt x="123853" y="63512"/>
                  <a:pt x="111165" y="76200"/>
                  <a:pt x="95278" y="76200"/>
                </a:cubicBezTo>
                <a:cubicBezTo>
                  <a:pt x="79391" y="76200"/>
                  <a:pt x="66703" y="63512"/>
                  <a:pt x="66703" y="47625"/>
                </a:cubicBezTo>
                <a:cubicBezTo>
                  <a:pt x="66703" y="31738"/>
                  <a:pt x="79391" y="19050"/>
                  <a:pt x="95278" y="19050"/>
                </a:cubicBezTo>
                <a:close/>
                <a:moveTo>
                  <a:pt x="52415" y="104775"/>
                </a:moveTo>
                <a:cubicBezTo>
                  <a:pt x="23580" y="104775"/>
                  <a:pt x="28" y="128327"/>
                  <a:pt x="28" y="157163"/>
                </a:cubicBezTo>
                <a:lnTo>
                  <a:pt x="28" y="274439"/>
                </a:lnTo>
                <a:cubicBezTo>
                  <a:pt x="-9" y="274848"/>
                  <a:pt x="-9" y="275220"/>
                  <a:pt x="28" y="275630"/>
                </a:cubicBezTo>
                <a:lnTo>
                  <a:pt x="28" y="276225"/>
                </a:lnTo>
                <a:cubicBezTo>
                  <a:pt x="-9" y="277118"/>
                  <a:pt x="102" y="278048"/>
                  <a:pt x="326" y="278904"/>
                </a:cubicBezTo>
                <a:cubicBezTo>
                  <a:pt x="1739" y="293303"/>
                  <a:pt x="13869" y="304800"/>
                  <a:pt x="28603" y="304800"/>
                </a:cubicBezTo>
                <a:cubicBezTo>
                  <a:pt x="31952" y="304800"/>
                  <a:pt x="35114" y="304093"/>
                  <a:pt x="38128" y="303014"/>
                </a:cubicBezTo>
                <a:lnTo>
                  <a:pt x="38128" y="404813"/>
                </a:lnTo>
                <a:cubicBezTo>
                  <a:pt x="38128" y="423118"/>
                  <a:pt x="53160" y="438150"/>
                  <a:pt x="71465" y="438150"/>
                </a:cubicBezTo>
                <a:cubicBezTo>
                  <a:pt x="80767" y="438150"/>
                  <a:pt x="89213" y="434243"/>
                  <a:pt x="95278" y="428030"/>
                </a:cubicBezTo>
                <a:cubicBezTo>
                  <a:pt x="101343" y="434243"/>
                  <a:pt x="109789" y="438150"/>
                  <a:pt x="119090" y="438150"/>
                </a:cubicBezTo>
                <a:cubicBezTo>
                  <a:pt x="137396" y="438150"/>
                  <a:pt x="152428" y="423118"/>
                  <a:pt x="152428" y="404813"/>
                </a:cubicBezTo>
                <a:lnTo>
                  <a:pt x="152428" y="161925"/>
                </a:lnTo>
                <a:lnTo>
                  <a:pt x="257203" y="161925"/>
                </a:lnTo>
                <a:cubicBezTo>
                  <a:pt x="272867" y="161925"/>
                  <a:pt x="285778" y="149014"/>
                  <a:pt x="285778" y="133350"/>
                </a:cubicBezTo>
                <a:cubicBezTo>
                  <a:pt x="285778" y="117872"/>
                  <a:pt x="273202" y="105110"/>
                  <a:pt x="257798" y="104775"/>
                </a:cubicBezTo>
                <a:cubicBezTo>
                  <a:pt x="257612" y="104775"/>
                  <a:pt x="257389" y="104775"/>
                  <a:pt x="257203" y="104775"/>
                </a:cubicBezTo>
                <a:lnTo>
                  <a:pt x="123853" y="104775"/>
                </a:lnTo>
                <a:cubicBezTo>
                  <a:pt x="120169" y="104738"/>
                  <a:pt x="116821" y="106821"/>
                  <a:pt x="115221" y="110133"/>
                </a:cubicBezTo>
                <a:lnTo>
                  <a:pt x="95278" y="150019"/>
                </a:lnTo>
                <a:lnTo>
                  <a:pt x="75335" y="110133"/>
                </a:lnTo>
                <a:cubicBezTo>
                  <a:pt x="73735" y="106821"/>
                  <a:pt x="70386" y="104738"/>
                  <a:pt x="66703" y="104775"/>
                </a:cubicBezTo>
                <a:close/>
                <a:moveTo>
                  <a:pt x="52415" y="123825"/>
                </a:moveTo>
                <a:lnTo>
                  <a:pt x="60750" y="123825"/>
                </a:lnTo>
                <a:lnTo>
                  <a:pt x="86646" y="175617"/>
                </a:lnTo>
                <a:cubicBezTo>
                  <a:pt x="88209" y="178966"/>
                  <a:pt x="91594" y="181124"/>
                  <a:pt x="95278" y="181124"/>
                </a:cubicBezTo>
                <a:cubicBezTo>
                  <a:pt x="98961" y="181124"/>
                  <a:pt x="102347" y="178966"/>
                  <a:pt x="103910" y="175617"/>
                </a:cubicBezTo>
                <a:lnTo>
                  <a:pt x="129806" y="123825"/>
                </a:lnTo>
                <a:lnTo>
                  <a:pt x="257203" y="123825"/>
                </a:lnTo>
                <a:cubicBezTo>
                  <a:pt x="257501" y="123825"/>
                  <a:pt x="257798" y="123825"/>
                  <a:pt x="258096" y="123825"/>
                </a:cubicBezTo>
                <a:cubicBezTo>
                  <a:pt x="263044" y="124271"/>
                  <a:pt x="266728" y="128290"/>
                  <a:pt x="266728" y="133350"/>
                </a:cubicBezTo>
                <a:cubicBezTo>
                  <a:pt x="266728" y="138745"/>
                  <a:pt x="262598" y="142875"/>
                  <a:pt x="257203" y="142875"/>
                </a:cubicBezTo>
                <a:lnTo>
                  <a:pt x="142903" y="142875"/>
                </a:lnTo>
                <a:cubicBezTo>
                  <a:pt x="137657" y="142875"/>
                  <a:pt x="133378" y="147154"/>
                  <a:pt x="133378" y="152400"/>
                </a:cubicBezTo>
                <a:lnTo>
                  <a:pt x="133378" y="404813"/>
                </a:lnTo>
                <a:cubicBezTo>
                  <a:pt x="133378" y="412812"/>
                  <a:pt x="127090" y="419100"/>
                  <a:pt x="119090" y="419100"/>
                </a:cubicBezTo>
                <a:cubicBezTo>
                  <a:pt x="111575" y="419100"/>
                  <a:pt x="105510" y="413593"/>
                  <a:pt x="104803" y="406301"/>
                </a:cubicBezTo>
                <a:lnTo>
                  <a:pt x="104803" y="403920"/>
                </a:lnTo>
                <a:cubicBezTo>
                  <a:pt x="104803" y="403622"/>
                  <a:pt x="104803" y="403324"/>
                  <a:pt x="104803" y="403027"/>
                </a:cubicBezTo>
                <a:lnTo>
                  <a:pt x="104803" y="304800"/>
                </a:lnTo>
                <a:cubicBezTo>
                  <a:pt x="104915" y="302047"/>
                  <a:pt x="103798" y="299405"/>
                  <a:pt x="101826" y="297545"/>
                </a:cubicBezTo>
                <a:cubicBezTo>
                  <a:pt x="99817" y="295647"/>
                  <a:pt x="97101" y="294717"/>
                  <a:pt x="94385" y="294977"/>
                </a:cubicBezTo>
                <a:cubicBezTo>
                  <a:pt x="93976" y="295052"/>
                  <a:pt x="93566" y="295163"/>
                  <a:pt x="93194" y="295275"/>
                </a:cubicBezTo>
                <a:cubicBezTo>
                  <a:pt x="88767" y="296280"/>
                  <a:pt x="85641" y="300261"/>
                  <a:pt x="85753" y="304800"/>
                </a:cubicBezTo>
                <a:lnTo>
                  <a:pt x="85753" y="403027"/>
                </a:lnTo>
                <a:cubicBezTo>
                  <a:pt x="85716" y="403436"/>
                  <a:pt x="85716" y="403808"/>
                  <a:pt x="85753" y="404217"/>
                </a:cubicBezTo>
                <a:lnTo>
                  <a:pt x="85753" y="406301"/>
                </a:lnTo>
                <a:cubicBezTo>
                  <a:pt x="85046" y="413593"/>
                  <a:pt x="78981" y="419100"/>
                  <a:pt x="71465" y="419100"/>
                </a:cubicBezTo>
                <a:cubicBezTo>
                  <a:pt x="63466" y="419100"/>
                  <a:pt x="57178" y="412812"/>
                  <a:pt x="57178" y="404813"/>
                </a:cubicBezTo>
                <a:lnTo>
                  <a:pt x="57178" y="180975"/>
                </a:lnTo>
                <a:cubicBezTo>
                  <a:pt x="57252" y="178036"/>
                  <a:pt x="55950" y="175245"/>
                  <a:pt x="53680" y="173385"/>
                </a:cubicBezTo>
                <a:cubicBezTo>
                  <a:pt x="51448" y="171524"/>
                  <a:pt x="48434" y="170817"/>
                  <a:pt x="45569" y="171450"/>
                </a:cubicBezTo>
                <a:cubicBezTo>
                  <a:pt x="41142" y="172455"/>
                  <a:pt x="38016" y="176436"/>
                  <a:pt x="38128" y="180975"/>
                </a:cubicBezTo>
                <a:lnTo>
                  <a:pt x="38128" y="274737"/>
                </a:lnTo>
                <a:cubicBezTo>
                  <a:pt x="38128" y="275034"/>
                  <a:pt x="38128" y="275332"/>
                  <a:pt x="38128" y="275630"/>
                </a:cubicBezTo>
                <a:lnTo>
                  <a:pt x="38128" y="276225"/>
                </a:lnTo>
                <a:cubicBezTo>
                  <a:pt x="38128" y="281620"/>
                  <a:pt x="33998" y="285750"/>
                  <a:pt x="28603" y="285750"/>
                </a:cubicBezTo>
                <a:cubicBezTo>
                  <a:pt x="23431" y="285750"/>
                  <a:pt x="19376" y="281918"/>
                  <a:pt x="19078" y="276820"/>
                </a:cubicBezTo>
                <a:cubicBezTo>
                  <a:pt x="19078" y="276634"/>
                  <a:pt x="19078" y="276411"/>
                  <a:pt x="19078" y="276225"/>
                </a:cubicBezTo>
                <a:cubicBezTo>
                  <a:pt x="19152" y="275630"/>
                  <a:pt x="19152" y="275034"/>
                  <a:pt x="19078" y="274439"/>
                </a:cubicBezTo>
                <a:lnTo>
                  <a:pt x="19078" y="157163"/>
                </a:lnTo>
                <a:cubicBezTo>
                  <a:pt x="19078" y="138633"/>
                  <a:pt x="33886" y="123825"/>
                  <a:pt x="52415" y="123825"/>
                </a:cubicBezTo>
                <a:close/>
              </a:path>
            </a:pathLst>
          </a:custGeom>
          <a:solidFill>
            <a:schemeClr val="bg1"/>
          </a:solidFill>
          <a:ln w="9525" cap="flat">
            <a:noFill/>
            <a:prstDash val="solid"/>
            <a:miter/>
          </a:ln>
        </p:spPr>
        <p:txBody>
          <a:bodyPr rtlCol="0" anchor="ct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GB" sz="2133"/>
          </a:p>
        </p:txBody>
      </p:sp>
      <p:sp>
        <p:nvSpPr>
          <p:cNvPr id="55" name="Pentagon 23">
            <a:extLst>
              <a:ext uri="{FF2B5EF4-FFF2-40B4-BE49-F238E27FC236}">
                <a16:creationId xmlns:a16="http://schemas.microsoft.com/office/drawing/2014/main" id="{6F4F90CC-D6D0-478E-A1B4-7C73E42248DB}"/>
              </a:ext>
            </a:extLst>
          </p:cNvPr>
          <p:cNvSpPr/>
          <p:nvPr/>
        </p:nvSpPr>
        <p:spPr>
          <a:xfrm>
            <a:off x="1145628" y="218858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OOP recap</a:t>
            </a:r>
          </a:p>
        </p:txBody>
      </p:sp>
      <p:sp>
        <p:nvSpPr>
          <p:cNvPr id="57" name="Oval 56">
            <a:extLst>
              <a:ext uri="{FF2B5EF4-FFF2-40B4-BE49-F238E27FC236}">
                <a16:creationId xmlns:a16="http://schemas.microsoft.com/office/drawing/2014/main" id="{A4320068-0C27-C478-1818-659D6E54ABB3}"/>
              </a:ext>
            </a:extLst>
          </p:cNvPr>
          <p:cNvSpPr/>
          <p:nvPr/>
        </p:nvSpPr>
        <p:spPr>
          <a:xfrm>
            <a:off x="839218" y="2193204"/>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5" name="Pentagon 23">
            <a:extLst>
              <a:ext uri="{FF2B5EF4-FFF2-40B4-BE49-F238E27FC236}">
                <a16:creationId xmlns:a16="http://schemas.microsoft.com/office/drawing/2014/main" id="{4DF64A59-F14B-6897-5DA8-4518E033B3A1}"/>
              </a:ext>
            </a:extLst>
          </p:cNvPr>
          <p:cNvSpPr/>
          <p:nvPr/>
        </p:nvSpPr>
        <p:spPr>
          <a:xfrm>
            <a:off x="1125637" y="297224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US" sz="2133" b="1" kern="0">
                <a:cs typeface="Arial" panose="020B0604020202020204" pitchFamily="34" charset="0"/>
              </a:rPr>
              <a:t>From OOP to MVC Pattern</a:t>
            </a:r>
            <a:endParaRPr lang="en-IN" sz="2133" b="1" kern="0">
              <a:cs typeface="Arial" panose="020B0604020202020204" pitchFamily="34" charset="0"/>
            </a:endParaRPr>
          </a:p>
        </p:txBody>
      </p:sp>
      <p:sp>
        <p:nvSpPr>
          <p:cNvPr id="67" name="Oval 66">
            <a:extLst>
              <a:ext uri="{FF2B5EF4-FFF2-40B4-BE49-F238E27FC236}">
                <a16:creationId xmlns:a16="http://schemas.microsoft.com/office/drawing/2014/main" id="{32E4ECB2-EF44-3F75-2577-EA5AF77003E1}"/>
              </a:ext>
            </a:extLst>
          </p:cNvPr>
          <p:cNvSpPr/>
          <p:nvPr/>
        </p:nvSpPr>
        <p:spPr>
          <a:xfrm>
            <a:off x="819227" y="2976862"/>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69" name="Pentagon 23">
            <a:extLst>
              <a:ext uri="{FF2B5EF4-FFF2-40B4-BE49-F238E27FC236}">
                <a16:creationId xmlns:a16="http://schemas.microsoft.com/office/drawing/2014/main" id="{FE52C954-768F-3FCA-7622-C82F5057646A}"/>
              </a:ext>
            </a:extLst>
          </p:cNvPr>
          <p:cNvSpPr/>
          <p:nvPr/>
        </p:nvSpPr>
        <p:spPr>
          <a:xfrm>
            <a:off x="1145628" y="3751284"/>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rgbClr val="0F2047"/>
                </a:solidFill>
                <a:cs typeface="Arial" panose="020B0604020202020204" pitchFamily="34" charset="0"/>
              </a:rPr>
              <a:t>Introduction to Design Pattern</a:t>
            </a:r>
          </a:p>
        </p:txBody>
      </p:sp>
      <p:sp>
        <p:nvSpPr>
          <p:cNvPr id="71" name="Oval 70">
            <a:extLst>
              <a:ext uri="{FF2B5EF4-FFF2-40B4-BE49-F238E27FC236}">
                <a16:creationId xmlns:a16="http://schemas.microsoft.com/office/drawing/2014/main" id="{6EB4E7E0-3C85-1975-BB96-8679FE863E33}"/>
              </a:ext>
            </a:extLst>
          </p:cNvPr>
          <p:cNvSpPr/>
          <p:nvPr/>
        </p:nvSpPr>
        <p:spPr>
          <a:xfrm>
            <a:off x="839218" y="3755902"/>
            <a:ext cx="623570" cy="623570"/>
          </a:xfrm>
          <a:prstGeom prst="ellipse">
            <a:avLst/>
          </a:prstGeom>
          <a:solidFill>
            <a:srgbClr val="0F2047"/>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3" name="Pentagon 23">
            <a:extLst>
              <a:ext uri="{FF2B5EF4-FFF2-40B4-BE49-F238E27FC236}">
                <a16:creationId xmlns:a16="http://schemas.microsoft.com/office/drawing/2014/main" id="{A0DF5099-3F9D-FD74-E8AC-C3C8489FECAD}"/>
              </a:ext>
            </a:extLst>
          </p:cNvPr>
          <p:cNvSpPr/>
          <p:nvPr/>
        </p:nvSpPr>
        <p:spPr>
          <a:xfrm>
            <a:off x="1145628" y="4525706"/>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solidFill>
                  <a:srgbClr val="E36053"/>
                </a:solidFill>
                <a:cs typeface="Arial" panose="020B0604020202020204" pitchFamily="34" charset="0"/>
              </a:rPr>
              <a:t>Summarize	</a:t>
            </a:r>
          </a:p>
        </p:txBody>
      </p:sp>
      <p:sp>
        <p:nvSpPr>
          <p:cNvPr id="75" name="Oval 74">
            <a:extLst>
              <a:ext uri="{FF2B5EF4-FFF2-40B4-BE49-F238E27FC236}">
                <a16:creationId xmlns:a16="http://schemas.microsoft.com/office/drawing/2014/main" id="{C4A0805E-7274-BF67-74AF-E5037B91C888}"/>
              </a:ext>
            </a:extLst>
          </p:cNvPr>
          <p:cNvSpPr/>
          <p:nvPr/>
        </p:nvSpPr>
        <p:spPr>
          <a:xfrm>
            <a:off x="839218" y="4530324"/>
            <a:ext cx="623570" cy="623570"/>
          </a:xfrm>
          <a:prstGeom prst="ellipse">
            <a:avLst/>
          </a:prstGeom>
          <a:solidFill>
            <a:srgbClr val="E36053"/>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sp>
        <p:nvSpPr>
          <p:cNvPr id="77" name="Pentagon 23">
            <a:extLst>
              <a:ext uri="{FF2B5EF4-FFF2-40B4-BE49-F238E27FC236}">
                <a16:creationId xmlns:a16="http://schemas.microsoft.com/office/drawing/2014/main" id="{1C8CEF69-E7A2-2D0D-33AB-7E2E99D02DD6}"/>
              </a:ext>
            </a:extLst>
          </p:cNvPr>
          <p:cNvSpPr/>
          <p:nvPr/>
        </p:nvSpPr>
        <p:spPr>
          <a:xfrm>
            <a:off x="1145628" y="5295510"/>
            <a:ext cx="10328823" cy="623570"/>
          </a:xfrm>
          <a:prstGeom prst="homePlate">
            <a:avLst>
              <a:gd name="adj" fmla="val 27599"/>
            </a:avLst>
          </a:prstGeom>
          <a:solidFill>
            <a:schemeClr val="bg2">
              <a:lumMod val="95000"/>
            </a:schemeClr>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575986" marR="0" indent="0" fontAlgn="auto">
              <a:lnSpc>
                <a:spcPct val="100000"/>
              </a:lnSpc>
              <a:spcBef>
                <a:spcPts val="0"/>
              </a:spcBef>
              <a:spcAft>
                <a:spcPts val="0"/>
              </a:spcAft>
              <a:buClrTx/>
              <a:buSzTx/>
              <a:buFontTx/>
              <a:buNone/>
              <a:tabLst/>
              <a:defRPr/>
            </a:pPr>
            <a:r>
              <a:rPr lang="en-IN" sz="2133" b="1" kern="0">
                <a:cs typeface="Arial" panose="020B0604020202020204" pitchFamily="34" charset="0"/>
              </a:rPr>
              <a:t>Q&amp;A</a:t>
            </a:r>
          </a:p>
        </p:txBody>
      </p:sp>
      <p:sp>
        <p:nvSpPr>
          <p:cNvPr id="79" name="Oval 78">
            <a:extLst>
              <a:ext uri="{FF2B5EF4-FFF2-40B4-BE49-F238E27FC236}">
                <a16:creationId xmlns:a16="http://schemas.microsoft.com/office/drawing/2014/main" id="{F2ED4571-F02C-1835-A1E6-C3F83E39CEB0}"/>
              </a:ext>
            </a:extLst>
          </p:cNvPr>
          <p:cNvSpPr/>
          <p:nvPr/>
        </p:nvSpPr>
        <p:spPr>
          <a:xfrm>
            <a:off x="839218" y="5300128"/>
            <a:ext cx="623570" cy="623570"/>
          </a:xfrm>
          <a:prstGeom prst="ellipse">
            <a:avLst/>
          </a:prstGeom>
          <a:solidFill>
            <a:schemeClr val="tx1"/>
          </a:solidFill>
          <a:ln w="9525"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000000"/>
              </a:solidFill>
              <a:effectLst/>
              <a:uLnTx/>
              <a:uFillTx/>
              <a:ea typeface="+mn-ea"/>
              <a:cs typeface="Arial" panose="020B0604020202020204" pitchFamily="34" charset="0"/>
            </a:endParaRPr>
          </a:p>
        </p:txBody>
      </p:sp>
      <p:pic>
        <p:nvPicPr>
          <p:cNvPr id="82" name="Graphic 81" descr="Link with solid fill">
            <a:extLst>
              <a:ext uri="{FF2B5EF4-FFF2-40B4-BE49-F238E27FC236}">
                <a16:creationId xmlns:a16="http://schemas.microsoft.com/office/drawing/2014/main" id="{C2F0AFED-92B1-95CF-879E-FC0A87C46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987" y="3092622"/>
            <a:ext cx="392051" cy="392051"/>
          </a:xfrm>
          <a:prstGeom prst="rect">
            <a:avLst/>
          </a:prstGeom>
        </p:spPr>
      </p:pic>
      <p:pic>
        <p:nvPicPr>
          <p:cNvPr id="84" name="Graphic 83" descr="Beginning with solid fill">
            <a:extLst>
              <a:ext uri="{FF2B5EF4-FFF2-40B4-BE49-F238E27FC236}">
                <a16:creationId xmlns:a16="http://schemas.microsoft.com/office/drawing/2014/main" id="{8943C64C-301A-050E-AA8B-1A7E381B25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2853" y="2316839"/>
            <a:ext cx="376301" cy="376301"/>
          </a:xfrm>
          <a:prstGeom prst="rect">
            <a:avLst/>
          </a:prstGeom>
        </p:spPr>
      </p:pic>
      <p:pic>
        <p:nvPicPr>
          <p:cNvPr id="86" name="Graphic 85" descr="Document with solid fill">
            <a:extLst>
              <a:ext uri="{FF2B5EF4-FFF2-40B4-BE49-F238E27FC236}">
                <a16:creationId xmlns:a16="http://schemas.microsoft.com/office/drawing/2014/main" id="{B284069A-20B2-FE9A-0D4D-212FF7F88D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6129" y="3882813"/>
            <a:ext cx="369748" cy="369748"/>
          </a:xfrm>
          <a:prstGeom prst="rect">
            <a:avLst/>
          </a:prstGeom>
        </p:spPr>
      </p:pic>
      <p:pic>
        <p:nvPicPr>
          <p:cNvPr id="88" name="Graphic 87" descr="Clipboard Partially Checked with solid fill">
            <a:extLst>
              <a:ext uri="{FF2B5EF4-FFF2-40B4-BE49-F238E27FC236}">
                <a16:creationId xmlns:a16="http://schemas.microsoft.com/office/drawing/2014/main" id="{49AB76FA-134A-CF98-5B5C-D1ABE51235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3878" y="4634984"/>
            <a:ext cx="414251" cy="414251"/>
          </a:xfrm>
          <a:prstGeom prst="rect">
            <a:avLst/>
          </a:prstGeom>
        </p:spPr>
      </p:pic>
      <p:pic>
        <p:nvPicPr>
          <p:cNvPr id="90" name="Graphic 89" descr="Customer review with solid fill">
            <a:extLst>
              <a:ext uri="{FF2B5EF4-FFF2-40B4-BE49-F238E27FC236}">
                <a16:creationId xmlns:a16="http://schemas.microsoft.com/office/drawing/2014/main" id="{1F145EE0-CDF6-91BD-28A0-D8FF0CB8B9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751" y="5405661"/>
            <a:ext cx="412505" cy="412505"/>
          </a:xfrm>
          <a:prstGeom prst="rect">
            <a:avLst/>
          </a:prstGeom>
        </p:spPr>
      </p:pic>
    </p:spTree>
    <p:custDataLst>
      <p:tags r:id="rId1"/>
    </p:custDataLst>
    <p:extLst>
      <p:ext uri="{BB962C8B-B14F-4D97-AF65-F5344CB8AC3E}">
        <p14:creationId xmlns:p14="http://schemas.microsoft.com/office/powerpoint/2010/main" val="34172583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E991E-165D-4A28-A37C-D3F8F0F2D016}"/>
              </a:ext>
            </a:extLst>
          </p:cNvPr>
          <p:cNvSpPr>
            <a:spLocks noGrp="1"/>
          </p:cNvSpPr>
          <p:nvPr>
            <p:ph type="title"/>
          </p:nvPr>
        </p:nvSpPr>
        <p:spPr/>
        <p:txBody>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Key takeaways</a:t>
            </a:r>
            <a:endParaRPr lang="da-DK"/>
          </a:p>
        </p:txBody>
      </p:sp>
      <p:sp>
        <p:nvSpPr>
          <p:cNvPr id="4" name="TextBox 3">
            <a:extLst>
              <a:ext uri="{FF2B5EF4-FFF2-40B4-BE49-F238E27FC236}">
                <a16:creationId xmlns:a16="http://schemas.microsoft.com/office/drawing/2014/main" id="{5472B909-8FB4-4DCB-B301-E6B5777D9F5C}"/>
              </a:ext>
            </a:extLst>
          </p:cNvPr>
          <p:cNvSpPr txBox="1"/>
          <p:nvPr/>
        </p:nvSpPr>
        <p:spPr>
          <a:xfrm>
            <a:off x="711531" y="1638339"/>
            <a:ext cx="9438309" cy="726416"/>
          </a:xfrm>
          <a:prstGeom prst="rect">
            <a:avLst/>
          </a:prstGeom>
          <a:noFill/>
          <a:ln w="12700">
            <a:solidFill>
              <a:schemeClr val="tx1"/>
            </a:solidFill>
          </a:ln>
        </p:spPr>
        <p:txBody>
          <a:bodyPr wrap="square" lIns="0" tIns="0" rIns="0" bIns="0" rtlCol="0" anchor="ctr">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2764"/>
            <a:r>
              <a:rPr lang="en-US" sz="2133" b="1"/>
              <a:t>#1: </a:t>
            </a:r>
            <a:r>
              <a:rPr lang="en-US" sz="2133"/>
              <a:t>Model-View-Controller is the concept of encapsulating some data together with its processing and isolate it from the manipulation and presentation.</a:t>
            </a:r>
            <a:endParaRPr lang="da-DK" sz="2133"/>
          </a:p>
        </p:txBody>
      </p:sp>
      <p:sp>
        <p:nvSpPr>
          <p:cNvPr id="5" name="TextBox 4">
            <a:extLst>
              <a:ext uri="{FF2B5EF4-FFF2-40B4-BE49-F238E27FC236}">
                <a16:creationId xmlns:a16="http://schemas.microsoft.com/office/drawing/2014/main" id="{F886CE96-D249-4118-8233-F8A33F2A0EC9}"/>
              </a:ext>
            </a:extLst>
          </p:cNvPr>
          <p:cNvSpPr txBox="1"/>
          <p:nvPr/>
        </p:nvSpPr>
        <p:spPr>
          <a:xfrm>
            <a:off x="711531" y="2780807"/>
            <a:ext cx="9438308" cy="726416"/>
          </a:xfrm>
          <a:prstGeom prst="rect">
            <a:avLst/>
          </a:prstGeom>
          <a:noFill/>
          <a:ln w="12700">
            <a:solidFill>
              <a:schemeClr val="tx1"/>
            </a:solidFill>
          </a:ln>
        </p:spPr>
        <p:txBody>
          <a:bodyPr wrap="square" lIns="0" tIns="0" rIns="0" bIns="0" rtlCol="0" anchor="ctr">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2764"/>
            <a:r>
              <a:rPr lang="en-US" sz="2133" b="1"/>
              <a:t>#2:</a:t>
            </a:r>
            <a:r>
              <a:rPr lang="en-US" sz="2133"/>
              <a:t> Design patterns are commonly defined as time-tested solutions to recurring design problems.</a:t>
            </a:r>
            <a:endParaRPr lang="da-DK" sz="2133"/>
          </a:p>
        </p:txBody>
      </p:sp>
      <p:sp>
        <p:nvSpPr>
          <p:cNvPr id="6" name="TextBox 5">
            <a:extLst>
              <a:ext uri="{FF2B5EF4-FFF2-40B4-BE49-F238E27FC236}">
                <a16:creationId xmlns:a16="http://schemas.microsoft.com/office/drawing/2014/main" id="{41B65E3A-D3CD-47E1-A5B9-15A72A119B31}"/>
              </a:ext>
            </a:extLst>
          </p:cNvPr>
          <p:cNvSpPr txBox="1"/>
          <p:nvPr/>
        </p:nvSpPr>
        <p:spPr>
          <a:xfrm>
            <a:off x="711532" y="3923275"/>
            <a:ext cx="9438307" cy="726416"/>
          </a:xfrm>
          <a:prstGeom prst="rect">
            <a:avLst/>
          </a:prstGeom>
          <a:noFill/>
          <a:ln w="12700">
            <a:solidFill>
              <a:schemeClr val="tx1"/>
            </a:solidFill>
          </a:ln>
        </p:spPr>
        <p:txBody>
          <a:bodyPr wrap="square" lIns="0" tIns="0" rIns="0" bIns="0" rtlCol="0" anchor="ctr">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2764"/>
            <a:r>
              <a:rPr lang="en-US" sz="2133" b="1"/>
              <a:t>#3:</a:t>
            </a:r>
            <a:r>
              <a:rPr lang="en-US" sz="2133"/>
              <a:t> Design patterns are represented as relationships between classes and objects with defined responsibilities that act in concert to carry out the solution.</a:t>
            </a:r>
            <a:endParaRPr lang="da-DK" sz="2133"/>
          </a:p>
        </p:txBody>
      </p:sp>
      <p:sp>
        <p:nvSpPr>
          <p:cNvPr id="7" name="TextBox 6">
            <a:extLst>
              <a:ext uri="{FF2B5EF4-FFF2-40B4-BE49-F238E27FC236}">
                <a16:creationId xmlns:a16="http://schemas.microsoft.com/office/drawing/2014/main" id="{CFDC3D3F-9648-4656-9F9E-235511A1D77B}"/>
              </a:ext>
            </a:extLst>
          </p:cNvPr>
          <p:cNvSpPr txBox="1"/>
          <p:nvPr/>
        </p:nvSpPr>
        <p:spPr>
          <a:xfrm>
            <a:off x="711531" y="5065744"/>
            <a:ext cx="9438307" cy="726416"/>
          </a:xfrm>
          <a:prstGeom prst="rect">
            <a:avLst/>
          </a:prstGeom>
          <a:noFill/>
          <a:ln w="12700">
            <a:solidFill>
              <a:schemeClr val="tx1"/>
            </a:solidFill>
          </a:ln>
        </p:spPr>
        <p:txBody>
          <a:bodyPr wrap="square" lIns="0" tIns="0" rIns="0" bIns="0" rtlCol="0" anchor="ctr">
            <a:no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22764"/>
            <a:r>
              <a:rPr lang="en-US" sz="2133" b="1"/>
              <a:t>#4:</a:t>
            </a:r>
            <a:r>
              <a:rPr lang="en-US" sz="2133"/>
              <a:t> Design pattern misuse could make the project over-complicated and slow.</a:t>
            </a:r>
            <a:endParaRPr lang="da-DK" sz="2133"/>
          </a:p>
        </p:txBody>
      </p:sp>
    </p:spTree>
    <p:extLst>
      <p:ext uri="{BB962C8B-B14F-4D97-AF65-F5344CB8AC3E}">
        <p14:creationId xmlns:p14="http://schemas.microsoft.com/office/powerpoint/2010/main" val="292188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EB073-14B7-30B2-8380-092EE6D55533}"/>
              </a:ext>
            </a:extLst>
          </p:cNvPr>
          <p:cNvSpPr>
            <a:spLocks noGrp="1"/>
          </p:cNvSpPr>
          <p:nvPr>
            <p:ph type="title"/>
          </p:nvPr>
        </p:nvSpPr>
        <p:spPr/>
        <p:txBody>
          <a:bodyPr/>
          <a:lstStyle/>
          <a:p>
            <a:r>
              <a:rPr lang="en-US"/>
              <a:t>Resources</a:t>
            </a:r>
            <a:endParaRPr lang="vi-VN"/>
          </a:p>
        </p:txBody>
      </p:sp>
      <p:sp>
        <p:nvSpPr>
          <p:cNvPr id="3" name="Text Placeholder 2">
            <a:extLst>
              <a:ext uri="{FF2B5EF4-FFF2-40B4-BE49-F238E27FC236}">
                <a16:creationId xmlns:a16="http://schemas.microsoft.com/office/drawing/2014/main" id="{134345E8-FFB6-020E-7234-406A2A1923AB}"/>
              </a:ext>
            </a:extLst>
          </p:cNvPr>
          <p:cNvSpPr>
            <a:spLocks noGrp="1"/>
          </p:cNvSpPr>
          <p:nvPr>
            <p:ph type="body" sz="quarter" idx="16"/>
          </p:nvPr>
        </p:nvSpPr>
        <p:spPr/>
        <p:txBody>
          <a:bodyPr/>
          <a:lstStyle/>
          <a:p>
            <a:r>
              <a:rPr lang="vi-VN">
                <a:hlinkClick r:id="rId3"/>
              </a:rPr>
              <a:t>https://github.com/truongnln2/mvc-dp-presentation</a:t>
            </a:r>
            <a:endParaRPr lang="en-US"/>
          </a:p>
          <a:p>
            <a:endParaRPr lang="vi-VN"/>
          </a:p>
        </p:txBody>
      </p:sp>
      <p:pic>
        <p:nvPicPr>
          <p:cNvPr id="6" name="Picture 5" descr="A qr code on a white background&#10;&#10;Description automatically generated with medium confidence">
            <a:extLst>
              <a:ext uri="{FF2B5EF4-FFF2-40B4-BE49-F238E27FC236}">
                <a16:creationId xmlns:a16="http://schemas.microsoft.com/office/drawing/2014/main" id="{44A06960-C0FA-3898-9C65-94B09B6C81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8307" y="877357"/>
            <a:ext cx="5103285" cy="5103285"/>
          </a:xfrm>
          <a:prstGeom prst="rect">
            <a:avLst/>
          </a:prstGeom>
        </p:spPr>
      </p:pic>
      <p:pic>
        <p:nvPicPr>
          <p:cNvPr id="8" name="Picture 7">
            <a:extLst>
              <a:ext uri="{FF2B5EF4-FFF2-40B4-BE49-F238E27FC236}">
                <a16:creationId xmlns:a16="http://schemas.microsoft.com/office/drawing/2014/main" id="{C10F23BF-7ECB-4F6F-07DA-298630884D97}"/>
              </a:ext>
            </a:extLst>
          </p:cNvPr>
          <p:cNvPicPr>
            <a:picLocks noChangeAspect="1"/>
          </p:cNvPicPr>
          <p:nvPr/>
        </p:nvPicPr>
        <p:blipFill rotWithShape="1">
          <a:blip r:embed="rId5"/>
          <a:srcRect r="34087"/>
          <a:stretch/>
        </p:blipFill>
        <p:spPr>
          <a:xfrm>
            <a:off x="454594" y="1868347"/>
            <a:ext cx="5625296" cy="3352800"/>
          </a:xfrm>
          <a:prstGeom prst="rect">
            <a:avLst/>
          </a:prstGeom>
        </p:spPr>
      </p:pic>
    </p:spTree>
    <p:extLst>
      <p:ext uri="{BB962C8B-B14F-4D97-AF65-F5344CB8AC3E}">
        <p14:creationId xmlns:p14="http://schemas.microsoft.com/office/powerpoint/2010/main" val="42558351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7643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E61E0-F34E-4203-90A7-F5F0FE00AD5A}"/>
              </a:ext>
            </a:extLst>
          </p:cNvPr>
          <p:cNvSpPr>
            <a:spLocks noGrp="1"/>
          </p:cNvSpPr>
          <p:nvPr>
            <p:ph type="title"/>
          </p:nvPr>
        </p:nvSpPr>
        <p:spPr/>
        <p:txBody>
          <a:bodyPr anchor="b">
            <a:normAutofit/>
          </a:bodyPr>
          <a:lst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a-DK" sz="2267"/>
              <a:t>OOP Recap</a:t>
            </a:r>
            <a:endParaRPr lang="en-US" sz="2267"/>
          </a:p>
        </p:txBody>
      </p:sp>
      <p:pic>
        <p:nvPicPr>
          <p:cNvPr id="8" name="Content Placeholder 7">
            <a:extLst>
              <a:ext uri="{FF2B5EF4-FFF2-40B4-BE49-F238E27FC236}">
                <a16:creationId xmlns:a16="http://schemas.microsoft.com/office/drawing/2014/main" id="{7374BEB9-5DBE-E30B-7552-0165EF064528}"/>
              </a:ext>
            </a:extLst>
          </p:cNvPr>
          <p:cNvPicPr>
            <a:picLocks noGrp="1" noChangeAspect="1"/>
          </p:cNvPicPr>
          <p:nvPr>
            <p:ph idx="4294967295"/>
          </p:nvPr>
        </p:nvPicPr>
        <p:blipFill rotWithShape="1">
          <a:blip r:embed="rId4">
            <a:extLst>
              <a:ext uri="{28A0092B-C50C-407E-A947-70E740481C1C}">
                <a14:useLocalDpi xmlns:a14="http://schemas.microsoft.com/office/drawing/2010/main" val="0"/>
              </a:ext>
            </a:extLst>
          </a:blip>
          <a:srcRect l="14729" t="40823" r="19433" b="35976"/>
          <a:stretch/>
        </p:blipFill>
        <p:spPr>
          <a:xfrm>
            <a:off x="789794" y="1838036"/>
            <a:ext cx="10612412" cy="3203864"/>
          </a:xfrm>
        </p:spPr>
      </p:pic>
    </p:spTree>
    <p:custDataLst>
      <p:tags r:id="rId1"/>
    </p:custDataLst>
    <p:extLst>
      <p:ext uri="{BB962C8B-B14F-4D97-AF65-F5344CB8AC3E}">
        <p14:creationId xmlns:p14="http://schemas.microsoft.com/office/powerpoint/2010/main" val="3849629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2.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6.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1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v4p1kAZ1Bzl5H69uBKhcQ"/>
</p:tagLst>
</file>

<file path=ppt/tags/tag20.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2.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4.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6.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8.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2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2.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4.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6.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8.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3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2.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4.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6.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7.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M-QUALITY-SLIDE" val="2022-03-07 15:46:02"/>
  <p:tag name="KM-CONTENT-SLIDE" val="2022-03-07 15:46:0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etcompany">
      <a:dk1>
        <a:srgbClr val="0F2047"/>
      </a:dk1>
      <a:lt1>
        <a:srgbClr val="FFFFFF"/>
      </a:lt1>
      <a:dk2>
        <a:srgbClr val="0E2046"/>
      </a:dk2>
      <a:lt2>
        <a:srgbClr val="FFFFFF"/>
      </a:lt2>
      <a:accent1>
        <a:srgbClr val="0E2046"/>
      </a:accent1>
      <a:accent2>
        <a:srgbClr val="50B8C1"/>
      </a:accent2>
      <a:accent3>
        <a:srgbClr val="5CBDAA"/>
      </a:accent3>
      <a:accent4>
        <a:srgbClr val="E36053"/>
      </a:accent4>
      <a:accent5>
        <a:srgbClr val="DE9C2B"/>
      </a:accent5>
      <a:accent6>
        <a:srgbClr val="385B73"/>
      </a:accent6>
      <a:hlink>
        <a:srgbClr val="E25F53"/>
      </a:hlink>
      <a:folHlink>
        <a:srgbClr val="EC938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Netcompany Powerpoint Template" id="{47AB3740-E70E-4D3C-88FA-0B102EAFF503}" vid="{19529865-8C57-4D88-AF12-74A0CF1319B0}"/>
    </a:ext>
  </a:extLst>
</a:theme>
</file>

<file path=ppt/theme/theme2.xml><?xml version="1.0" encoding="utf-8"?>
<a:theme xmlns:a="http://schemas.openxmlformats.org/drawingml/2006/main" name="Office Theme">
  <a:themeElements>
    <a:clrScheme name="Netcompany">
      <a:dk1>
        <a:srgbClr val="0F2047"/>
      </a:dk1>
      <a:lt1>
        <a:srgbClr val="FFFFFF"/>
      </a:lt1>
      <a:dk2>
        <a:srgbClr val="0E2046"/>
      </a:dk2>
      <a:lt2>
        <a:srgbClr val="FFFFFF"/>
      </a:lt2>
      <a:accent1>
        <a:srgbClr val="0E2046"/>
      </a:accent1>
      <a:accent2>
        <a:srgbClr val="50B8C1"/>
      </a:accent2>
      <a:accent3>
        <a:srgbClr val="5CBDAA"/>
      </a:accent3>
      <a:accent4>
        <a:srgbClr val="E36053"/>
      </a:accent4>
      <a:accent5>
        <a:srgbClr val="DE9C2B"/>
      </a:accent5>
      <a:accent6>
        <a:srgbClr val="385B73"/>
      </a:accent6>
      <a:hlink>
        <a:srgbClr val="E25F53"/>
      </a:hlink>
      <a:folHlink>
        <a:srgbClr val="EC938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Netcompany Powerpoint Template OPDATERET" id="{318FE77B-F039-4245-A2E4-11609EB10BD4}" vid="{2424D8F5-B52A-49D7-B5BD-3E616395D7F3}"/>
    </a:ext>
  </a:extLst>
</a:theme>
</file>

<file path=ppt/theme/theme3.xml><?xml version="1.0" encoding="utf-8"?>
<a:theme xmlns:a="http://schemas.openxmlformats.org/drawingml/2006/main" name="Office Theme">
  <a:themeElements>
    <a:clrScheme name="Netcompany">
      <a:dk1>
        <a:srgbClr val="0F2047"/>
      </a:dk1>
      <a:lt1>
        <a:srgbClr val="FFFFFF"/>
      </a:lt1>
      <a:dk2>
        <a:srgbClr val="0E2046"/>
      </a:dk2>
      <a:lt2>
        <a:srgbClr val="FFFFFF"/>
      </a:lt2>
      <a:accent1>
        <a:srgbClr val="0E2046"/>
      </a:accent1>
      <a:accent2>
        <a:srgbClr val="50B8C1"/>
      </a:accent2>
      <a:accent3>
        <a:srgbClr val="5CBDAA"/>
      </a:accent3>
      <a:accent4>
        <a:srgbClr val="E36053"/>
      </a:accent4>
      <a:accent5>
        <a:srgbClr val="DE9C2B"/>
      </a:accent5>
      <a:accent6>
        <a:srgbClr val="385B73"/>
      </a:accent6>
      <a:hlink>
        <a:srgbClr val="E25F53"/>
      </a:hlink>
      <a:folHlink>
        <a:srgbClr val="EC938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Netcompany Powerpoint Template" id="{4CFC66B0-5736-4489-BF36-B530A32A208D}" vid="{50734CBC-CEE6-4DF0-B7AA-1333908070F0}"/>
    </a:ext>
  </a:extLst>
</a:theme>
</file>

<file path=ppt/theme/theme4.xml><?xml version="1.0" encoding="utf-8"?>
<a:theme xmlns:a="http://schemas.openxmlformats.org/drawingml/2006/main" name="Office Theme">
  <a:themeElements>
    <a:clrScheme name="Netcompany">
      <a:dk1>
        <a:srgbClr val="0F2047"/>
      </a:dk1>
      <a:lt1>
        <a:srgbClr val="FFFFFF"/>
      </a:lt1>
      <a:dk2>
        <a:srgbClr val="0E2046"/>
      </a:dk2>
      <a:lt2>
        <a:srgbClr val="FFFFFF"/>
      </a:lt2>
      <a:accent1>
        <a:srgbClr val="0E2046"/>
      </a:accent1>
      <a:accent2>
        <a:srgbClr val="50B8C1"/>
      </a:accent2>
      <a:accent3>
        <a:srgbClr val="5CBDAA"/>
      </a:accent3>
      <a:accent4>
        <a:srgbClr val="E36053"/>
      </a:accent4>
      <a:accent5>
        <a:srgbClr val="DE9C2B"/>
      </a:accent5>
      <a:accent6>
        <a:srgbClr val="385B73"/>
      </a:accent6>
      <a:hlink>
        <a:srgbClr val="E25F53"/>
      </a:hlink>
      <a:folHlink>
        <a:srgbClr val="EC938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Netcompany Powerpoint Template" id="{4CFC66B0-5736-4489-BF36-B530A32A208D}" vid="{50734CBC-CEE6-4DF0-B7AA-1333908070F0}"/>
    </a:ext>
  </a:extLst>
</a:theme>
</file>

<file path=ppt/theme/theme5.xml><?xml version="1.0" encoding="utf-8"?>
<a:theme xmlns:a="http://schemas.openxmlformats.org/drawingml/2006/main" name="1_Office Theme">
  <a:themeElements>
    <a:clrScheme name="Netcompany">
      <a:dk1>
        <a:srgbClr val="0F2047"/>
      </a:dk1>
      <a:lt1>
        <a:srgbClr val="FFFFFF"/>
      </a:lt1>
      <a:dk2>
        <a:srgbClr val="0E2046"/>
      </a:dk2>
      <a:lt2>
        <a:srgbClr val="FFFFFF"/>
      </a:lt2>
      <a:accent1>
        <a:srgbClr val="0E2046"/>
      </a:accent1>
      <a:accent2>
        <a:srgbClr val="50B8C1"/>
      </a:accent2>
      <a:accent3>
        <a:srgbClr val="5CBDAA"/>
      </a:accent3>
      <a:accent4>
        <a:srgbClr val="E36053"/>
      </a:accent4>
      <a:accent5>
        <a:srgbClr val="DE9C2B"/>
      </a:accent5>
      <a:accent6>
        <a:srgbClr val="385B73"/>
      </a:accent6>
      <a:hlink>
        <a:srgbClr val="E25F53"/>
      </a:hlink>
      <a:folHlink>
        <a:srgbClr val="EC938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Netcompany Powerpoint Template" id="{47AB3740-E70E-4D3C-88FA-0B102EAFF503}" vid="{19529865-8C57-4D88-AF12-74A0CF1319B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33</Words>
  <Application>Microsoft Office PowerPoint</Application>
  <PresentationFormat>Widescreen</PresentationFormat>
  <Paragraphs>519</Paragraphs>
  <Slides>86</Slides>
  <Notes>53</Notes>
  <HiddenSlides>0</HiddenSlides>
  <MMClips>2</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86</vt:i4>
      </vt:variant>
    </vt:vector>
  </HeadingPairs>
  <TitlesOfParts>
    <vt:vector size="100" baseType="lpstr">
      <vt:lpstr>Arial</vt:lpstr>
      <vt:lpstr>Calibri</vt:lpstr>
      <vt:lpstr>Calibri-Light</vt:lpstr>
      <vt:lpstr>Courier New</vt:lpstr>
      <vt:lpstr>Tahoma</vt:lpstr>
      <vt:lpstr>Tahoma (Body)</vt:lpstr>
      <vt:lpstr>Times</vt:lpstr>
      <vt:lpstr>Wingdings</vt:lpstr>
      <vt:lpstr>Office Theme</vt:lpstr>
      <vt:lpstr>Office Theme</vt:lpstr>
      <vt:lpstr>Office Theme</vt:lpstr>
      <vt:lpstr>Office Theme</vt:lpstr>
      <vt:lpstr>1_Office Theme</vt:lpstr>
      <vt:lpstr>think-cell Slide</vt:lpstr>
      <vt:lpstr>Code structure: From OOP to Design Pattern and MVC Pattern</vt:lpstr>
      <vt:lpstr>Agenda</vt:lpstr>
      <vt:lpstr>ABOUT ME</vt:lpstr>
      <vt:lpstr>About me</vt:lpstr>
      <vt:lpstr>About me</vt:lpstr>
      <vt:lpstr>PowerPoint Presentation</vt:lpstr>
      <vt:lpstr>PowerPoint Presentation</vt:lpstr>
      <vt:lpstr>Agenda</vt:lpstr>
      <vt:lpstr>OOP Recap</vt:lpstr>
      <vt:lpstr>OOP Recap</vt:lpstr>
      <vt:lpstr>OOP Recap</vt:lpstr>
      <vt:lpstr>Agenda</vt:lpstr>
      <vt:lpstr>From OOP to MVC Pattern</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Definition &amp; Motivation</vt:lpstr>
      <vt:lpstr>Definition &amp; Motivation</vt:lpstr>
      <vt:lpstr>Definition &amp; Motivation</vt:lpstr>
      <vt:lpstr>Definition &amp; Motivation</vt:lpstr>
      <vt:lpstr>Definition &amp; Motivation</vt:lpstr>
      <vt:lpstr>Definition &amp; Motivation</vt:lpstr>
      <vt:lpstr>Definition &amp; Motivation</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The case study</vt:lpstr>
      <vt:lpstr>Conclusion</vt:lpstr>
      <vt:lpstr>Real world examples</vt:lpstr>
      <vt:lpstr>Real world examples</vt:lpstr>
      <vt:lpstr>Real world examples</vt:lpstr>
      <vt:lpstr>Real world examples</vt:lpstr>
      <vt:lpstr>Real world examples</vt:lpstr>
      <vt:lpstr>Real world examples</vt:lpstr>
      <vt:lpstr>Agenda</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Introduction to Design Pattern</vt:lpstr>
      <vt:lpstr>Agenda</vt:lpstr>
      <vt:lpstr>Key takeaways</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de structure: From OOP to Design Pattern and MVC Pattern</dc:title>
  <dc:creator>Nguyễn Lê Nhật Trường</dc:creator>
  <cp:lastModifiedBy>Nguyễn Lê Nhật Trường</cp:lastModifiedBy>
  <cp:revision>1</cp:revision>
  <dcterms:created xsi:type="dcterms:W3CDTF">2023-06-19T13:40:05Z</dcterms:created>
  <dcterms:modified xsi:type="dcterms:W3CDTF">2023-06-26T05:10:40Z</dcterms:modified>
</cp:coreProperties>
</file>